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.xml" ContentType="application/vnd.openxmlformats-officedocument.presentationml.notesSlide+xml"/>
  <Override PartName="/ppt/tags/tag43.xml" ContentType="application/vnd.openxmlformats-officedocument.presentationml.tags+xml"/>
  <Override PartName="/ppt/notesSlides/notesSlide2.xml" ContentType="application/vnd.openxmlformats-officedocument.presentationml.notesSlide+xml"/>
  <Override PartName="/ppt/tags/tag44.xml" ContentType="application/vnd.openxmlformats-officedocument.presentationml.tags+xml"/>
  <Override PartName="/ppt/notesSlides/notesSlide3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4.xml" ContentType="application/vnd.openxmlformats-officedocument.presentationml.notesSlide+xml"/>
  <Override PartName="/ppt/tags/tag48.xml" ContentType="application/vnd.openxmlformats-officedocument.presentationml.tags+xml"/>
  <Override PartName="/ppt/notesSlides/notesSlide5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sldIdLst>
    <p:sldId id="333" r:id="rId2"/>
    <p:sldId id="260" r:id="rId3"/>
    <p:sldId id="331" r:id="rId4"/>
    <p:sldId id="309" r:id="rId5"/>
    <p:sldId id="271" r:id="rId6"/>
    <p:sldId id="272" r:id="rId7"/>
    <p:sldId id="327" r:id="rId8"/>
    <p:sldId id="312" r:id="rId9"/>
    <p:sldId id="292" r:id="rId10"/>
  </p:sldIdLst>
  <p:sldSz cx="12192000" cy="6858000"/>
  <p:notesSz cx="6858000" cy="9144000"/>
  <p:custDataLst>
    <p:tags r:id="rId1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6/MTR-ko Kölmel, Paul" initials="DKP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CCCC"/>
    <a:srgbClr val="FF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432" autoAdjust="0"/>
  </p:normalViewPr>
  <p:slideViewPr>
    <p:cSldViewPr snapToGrid="0" showGuides="1">
      <p:cViewPr varScale="1">
        <p:scale>
          <a:sx n="73" d="100"/>
          <a:sy n="73" d="100"/>
        </p:scale>
        <p:origin x="115" y="168"/>
      </p:cViewPr>
      <p:guideLst>
        <p:guide orient="horz" pos="2160"/>
        <p:guide pos="386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192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39CC96-28B7-4EB5-AF28-4751D63D6205}" type="datetimeFigureOut">
              <a:rPr lang="de-DE" smtClean="0"/>
              <a:t>28.11.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3E65A7-789D-47E6-985F-DF61FF0CF576}" type="slidenum">
              <a:rPr lang="de-DE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60411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52891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3E65A7-789D-47E6-985F-DF61FF0CF576}" type="slidenum">
              <a:rPr lang="de-DE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3377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3E65A7-789D-47E6-985F-DF61FF0CF576}" type="slidenum">
              <a:rPr lang="de-DE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66708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3E65A7-789D-47E6-985F-DF61FF0CF576}" type="slidenum">
              <a:rPr lang="de-DE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07946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86200" y="8536623"/>
            <a:ext cx="2971800" cy="458787"/>
          </a:xfrm>
        </p:spPr>
        <p:txBody>
          <a:bodyPr/>
          <a:lstStyle/>
          <a:p>
            <a:fld id="{CF3E65A7-789D-47E6-985F-DF61FF0CF576}" type="slidenum">
              <a:rPr lang="de-DE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1230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3E65A7-789D-47E6-985F-DF61FF0CF576}" type="slidenum">
              <a:rPr lang="de-DE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05218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Hintergrund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70" imgH="371" progId="TCLayout.ActiveDocument.1">
                  <p:embed/>
                </p:oleObj>
              </mc:Choice>
              <mc:Fallback>
                <p:oleObj name="think-cell Folie" r:id="rId4" imgW="370" imgH="37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200" b="1" i="0" baseline="0" dirty="0">
              <a:solidFill>
                <a:schemeClr val="tx1"/>
              </a:solidFill>
              <a:latin typeface="STIHL Contraface Display Title"/>
              <a:ea typeface="+mn-ea"/>
              <a:cs typeface="+mn-cs"/>
              <a:sym typeface="STIHL Contraface Display Title"/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6061" y="258750"/>
            <a:ext cx="1774212" cy="775631"/>
          </a:xfrm>
          <a:prstGeom prst="rect">
            <a:avLst/>
          </a:prstGeom>
        </p:spPr>
      </p:pic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F81A1AFD-D231-4C55-9AAB-DA10BA8E7D1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10129345 w 12192000"/>
              <a:gd name="connsiteY4" fmla="*/ 344401 h 6858000"/>
              <a:gd name="connsiteX5" fmla="*/ 10129345 w 12192000"/>
              <a:gd name="connsiteY5" fmla="*/ 1099696 h 6858000"/>
              <a:gd name="connsiteX6" fmla="*/ 11857039 w 12192000"/>
              <a:gd name="connsiteY6" fmla="*/ 1099696 h 6858000"/>
              <a:gd name="connsiteX7" fmla="*/ 11857039 w 12192000"/>
              <a:gd name="connsiteY7" fmla="*/ 344401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29345 w 12192000"/>
              <a:gd name="connsiteY6" fmla="*/ 1099696 h 6858000"/>
              <a:gd name="connsiteX7" fmla="*/ 11857039 w 12192000"/>
              <a:gd name="connsiteY7" fmla="*/ 1099696 h 6858000"/>
              <a:gd name="connsiteX8" fmla="*/ 11857039 w 12192000"/>
              <a:gd name="connsiteY8" fmla="*/ 34440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29345 w 12192000"/>
              <a:gd name="connsiteY6" fmla="*/ 1099696 h 6858000"/>
              <a:gd name="connsiteX7" fmla="*/ 11857039 w 12192000"/>
              <a:gd name="connsiteY7" fmla="*/ 109969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29345 w 12192000"/>
              <a:gd name="connsiteY6" fmla="*/ 1099696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31885 w 12192000"/>
              <a:gd name="connsiteY6" fmla="*/ 1033656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2680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42680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2680 w 12192000"/>
              <a:gd name="connsiteY5" fmla="*/ 258041 h 6858000"/>
              <a:gd name="connsiteX6" fmla="*/ 1013950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42680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2680 w 12192000"/>
              <a:gd name="connsiteY5" fmla="*/ 258041 h 6858000"/>
              <a:gd name="connsiteX6" fmla="*/ 1014331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42680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2680 w 12192000"/>
              <a:gd name="connsiteY5" fmla="*/ 258041 h 6858000"/>
              <a:gd name="connsiteX6" fmla="*/ 10143315 w 12192000"/>
              <a:gd name="connsiteY6" fmla="*/ 1031751 h 6858000"/>
              <a:gd name="connsiteX7" fmla="*/ 11907839 w 12192000"/>
              <a:gd name="connsiteY7" fmla="*/ 1031116 h 6858000"/>
              <a:gd name="connsiteX8" fmla="*/ 11904029 w 12192000"/>
              <a:gd name="connsiteY8" fmla="*/ 258041 h 6858000"/>
              <a:gd name="connsiteX9" fmla="*/ 10142680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2680 w 12192000"/>
              <a:gd name="connsiteY5" fmla="*/ 258041 h 6858000"/>
              <a:gd name="connsiteX6" fmla="*/ 10143315 w 12192000"/>
              <a:gd name="connsiteY6" fmla="*/ 1031751 h 6858000"/>
              <a:gd name="connsiteX7" fmla="*/ 11902124 w 12192000"/>
              <a:gd name="connsiteY7" fmla="*/ 1031116 h 6858000"/>
              <a:gd name="connsiteX8" fmla="*/ 11904029 w 12192000"/>
              <a:gd name="connsiteY8" fmla="*/ 258041 h 6858000"/>
              <a:gd name="connsiteX9" fmla="*/ 10142680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0775 w 12192000"/>
              <a:gd name="connsiteY5" fmla="*/ 259946 h 6858000"/>
              <a:gd name="connsiteX6" fmla="*/ 10143315 w 12192000"/>
              <a:gd name="connsiteY6" fmla="*/ 1031751 h 6858000"/>
              <a:gd name="connsiteX7" fmla="*/ 11902124 w 12192000"/>
              <a:gd name="connsiteY7" fmla="*/ 1031116 h 6858000"/>
              <a:gd name="connsiteX8" fmla="*/ 11904029 w 12192000"/>
              <a:gd name="connsiteY8" fmla="*/ 258041 h 6858000"/>
              <a:gd name="connsiteX9" fmla="*/ 10140775 w 12192000"/>
              <a:gd name="connsiteY9" fmla="*/ 25994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59946 h 6858000"/>
              <a:gd name="connsiteX6" fmla="*/ 10143315 w 12192000"/>
              <a:gd name="connsiteY6" fmla="*/ 1031751 h 6858000"/>
              <a:gd name="connsiteX7" fmla="*/ 11902124 w 12192000"/>
              <a:gd name="connsiteY7" fmla="*/ 1031116 h 6858000"/>
              <a:gd name="connsiteX8" fmla="*/ 11904029 w 12192000"/>
              <a:gd name="connsiteY8" fmla="*/ 258041 h 6858000"/>
              <a:gd name="connsiteX9" fmla="*/ 10146490 w 12192000"/>
              <a:gd name="connsiteY9" fmla="*/ 25994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0775 w 12192000"/>
              <a:gd name="connsiteY5" fmla="*/ 263756 h 6858000"/>
              <a:gd name="connsiteX6" fmla="*/ 10143315 w 12192000"/>
              <a:gd name="connsiteY6" fmla="*/ 1031751 h 6858000"/>
              <a:gd name="connsiteX7" fmla="*/ 11902124 w 12192000"/>
              <a:gd name="connsiteY7" fmla="*/ 1031116 h 6858000"/>
              <a:gd name="connsiteX8" fmla="*/ 11904029 w 12192000"/>
              <a:gd name="connsiteY8" fmla="*/ 258041 h 6858000"/>
              <a:gd name="connsiteX9" fmla="*/ 10140775 w 12192000"/>
              <a:gd name="connsiteY9" fmla="*/ 26375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0775 w 12192000"/>
              <a:gd name="connsiteY5" fmla="*/ 263756 h 6858000"/>
              <a:gd name="connsiteX6" fmla="*/ 10143315 w 12192000"/>
              <a:gd name="connsiteY6" fmla="*/ 1031751 h 6858000"/>
              <a:gd name="connsiteX7" fmla="*/ 11902124 w 12192000"/>
              <a:gd name="connsiteY7" fmla="*/ 1031116 h 6858000"/>
              <a:gd name="connsiteX8" fmla="*/ 11904029 w 12192000"/>
              <a:gd name="connsiteY8" fmla="*/ 263756 h 6858000"/>
              <a:gd name="connsiteX9" fmla="*/ 10140775 w 12192000"/>
              <a:gd name="connsiteY9" fmla="*/ 26375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63756 h 6858000"/>
              <a:gd name="connsiteX6" fmla="*/ 10143315 w 12192000"/>
              <a:gd name="connsiteY6" fmla="*/ 1031751 h 6858000"/>
              <a:gd name="connsiteX7" fmla="*/ 11902124 w 12192000"/>
              <a:gd name="connsiteY7" fmla="*/ 1031116 h 6858000"/>
              <a:gd name="connsiteX8" fmla="*/ 11904029 w 12192000"/>
              <a:gd name="connsiteY8" fmla="*/ 263756 h 6858000"/>
              <a:gd name="connsiteX9" fmla="*/ 10146490 w 12192000"/>
              <a:gd name="connsiteY9" fmla="*/ 26375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047430 w 12192000"/>
              <a:gd name="connsiteY5" fmla="*/ 197081 h 6858000"/>
              <a:gd name="connsiteX6" fmla="*/ 10143315 w 12192000"/>
              <a:gd name="connsiteY6" fmla="*/ 1031751 h 6858000"/>
              <a:gd name="connsiteX7" fmla="*/ 11902124 w 12192000"/>
              <a:gd name="connsiteY7" fmla="*/ 1031116 h 6858000"/>
              <a:gd name="connsiteX8" fmla="*/ 11904029 w 12192000"/>
              <a:gd name="connsiteY8" fmla="*/ 263756 h 6858000"/>
              <a:gd name="connsiteX9" fmla="*/ 10047430 w 12192000"/>
              <a:gd name="connsiteY9" fmla="*/ 19708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207450 w 12192000"/>
              <a:gd name="connsiteY5" fmla="*/ 338051 h 6858000"/>
              <a:gd name="connsiteX6" fmla="*/ 10143315 w 12192000"/>
              <a:gd name="connsiteY6" fmla="*/ 1031751 h 6858000"/>
              <a:gd name="connsiteX7" fmla="*/ 11902124 w 12192000"/>
              <a:gd name="connsiteY7" fmla="*/ 1031116 h 6858000"/>
              <a:gd name="connsiteX8" fmla="*/ 11904029 w 12192000"/>
              <a:gd name="connsiteY8" fmla="*/ 263756 h 6858000"/>
              <a:gd name="connsiteX9" fmla="*/ 10207450 w 12192000"/>
              <a:gd name="connsiteY9" fmla="*/ 33805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4585 w 12192000"/>
              <a:gd name="connsiteY5" fmla="*/ 263756 h 6858000"/>
              <a:gd name="connsiteX6" fmla="*/ 10143315 w 12192000"/>
              <a:gd name="connsiteY6" fmla="*/ 1031751 h 6858000"/>
              <a:gd name="connsiteX7" fmla="*/ 11902124 w 12192000"/>
              <a:gd name="connsiteY7" fmla="*/ 1031116 h 6858000"/>
              <a:gd name="connsiteX8" fmla="*/ 11904029 w 12192000"/>
              <a:gd name="connsiteY8" fmla="*/ 263756 h 6858000"/>
              <a:gd name="connsiteX9" fmla="*/ 10144585 w 12192000"/>
              <a:gd name="connsiteY9" fmla="*/ 26375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4585 w 12192000"/>
              <a:gd name="connsiteY5" fmla="*/ 263756 h 6858000"/>
              <a:gd name="connsiteX6" fmla="*/ 10143315 w 12192000"/>
              <a:gd name="connsiteY6" fmla="*/ 1031751 h 6858000"/>
              <a:gd name="connsiteX7" fmla="*/ 11902124 w 12192000"/>
              <a:gd name="connsiteY7" fmla="*/ 1031116 h 6858000"/>
              <a:gd name="connsiteX8" fmla="*/ 11900219 w 12192000"/>
              <a:gd name="connsiteY8" fmla="*/ 267566 h 6858000"/>
              <a:gd name="connsiteX9" fmla="*/ 10144585 w 12192000"/>
              <a:gd name="connsiteY9" fmla="*/ 26375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4585 w 12192000"/>
              <a:gd name="connsiteY5" fmla="*/ 263756 h 6858000"/>
              <a:gd name="connsiteX6" fmla="*/ 10143315 w 12192000"/>
              <a:gd name="connsiteY6" fmla="*/ 1031751 h 6858000"/>
              <a:gd name="connsiteX7" fmla="*/ 11858309 w 12192000"/>
              <a:gd name="connsiteY7" fmla="*/ 994921 h 6858000"/>
              <a:gd name="connsiteX8" fmla="*/ 11900219 w 12192000"/>
              <a:gd name="connsiteY8" fmla="*/ 267566 h 6858000"/>
              <a:gd name="connsiteX9" fmla="*/ 10144585 w 12192000"/>
              <a:gd name="connsiteY9" fmla="*/ 26375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65661 h 6858000"/>
              <a:gd name="connsiteX6" fmla="*/ 10143315 w 12192000"/>
              <a:gd name="connsiteY6" fmla="*/ 1031751 h 6858000"/>
              <a:gd name="connsiteX7" fmla="*/ 11858309 w 12192000"/>
              <a:gd name="connsiteY7" fmla="*/ 994921 h 6858000"/>
              <a:gd name="connsiteX8" fmla="*/ 11900219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65661 h 6858000"/>
              <a:gd name="connsiteX6" fmla="*/ 10143315 w 12192000"/>
              <a:gd name="connsiteY6" fmla="*/ 1031751 h 6858000"/>
              <a:gd name="connsiteX7" fmla="*/ 11904029 w 12192000"/>
              <a:gd name="connsiteY7" fmla="*/ 1025401 h 6858000"/>
              <a:gd name="connsiteX8" fmla="*/ 11900219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65661 h 6858000"/>
              <a:gd name="connsiteX6" fmla="*/ 10145220 w 12192000"/>
              <a:gd name="connsiteY6" fmla="*/ 1026036 h 6858000"/>
              <a:gd name="connsiteX7" fmla="*/ 11904029 w 12192000"/>
              <a:gd name="connsiteY7" fmla="*/ 1025401 h 6858000"/>
              <a:gd name="connsiteX8" fmla="*/ 11900219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65661 h 6858000"/>
              <a:gd name="connsiteX6" fmla="*/ 10145220 w 12192000"/>
              <a:gd name="connsiteY6" fmla="*/ 1029846 h 6858000"/>
              <a:gd name="connsiteX7" fmla="*/ 11904029 w 12192000"/>
              <a:gd name="connsiteY7" fmla="*/ 1025401 h 6858000"/>
              <a:gd name="connsiteX8" fmla="*/ 11900219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65661 h 6858000"/>
              <a:gd name="connsiteX6" fmla="*/ 10149030 w 12192000"/>
              <a:gd name="connsiteY6" fmla="*/ 1029846 h 6858000"/>
              <a:gd name="connsiteX7" fmla="*/ 11904029 w 12192000"/>
              <a:gd name="connsiteY7" fmla="*/ 1025401 h 6858000"/>
              <a:gd name="connsiteX8" fmla="*/ 11900219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65661 h 6858000"/>
              <a:gd name="connsiteX6" fmla="*/ 10147125 w 12192000"/>
              <a:gd name="connsiteY6" fmla="*/ 1029846 h 6858000"/>
              <a:gd name="connsiteX7" fmla="*/ 11904029 w 12192000"/>
              <a:gd name="connsiteY7" fmla="*/ 1025401 h 6858000"/>
              <a:gd name="connsiteX8" fmla="*/ 11900219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65661 h 6858000"/>
              <a:gd name="connsiteX6" fmla="*/ 10147125 w 12192000"/>
              <a:gd name="connsiteY6" fmla="*/ 1029846 h 6858000"/>
              <a:gd name="connsiteX7" fmla="*/ 11904029 w 12192000"/>
              <a:gd name="connsiteY7" fmla="*/ 1025401 h 6858000"/>
              <a:gd name="connsiteX8" fmla="*/ 11905934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65661 h 6858000"/>
              <a:gd name="connsiteX6" fmla="*/ 10147125 w 12192000"/>
              <a:gd name="connsiteY6" fmla="*/ 1029846 h 6858000"/>
              <a:gd name="connsiteX7" fmla="*/ 11904029 w 12192000"/>
              <a:gd name="connsiteY7" fmla="*/ 1025401 h 6858000"/>
              <a:gd name="connsiteX8" fmla="*/ 11709719 w 12192000"/>
              <a:gd name="connsiteY8" fmla="*/ 452351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65661 h 6858000"/>
              <a:gd name="connsiteX6" fmla="*/ 10147125 w 12192000"/>
              <a:gd name="connsiteY6" fmla="*/ 1029846 h 6858000"/>
              <a:gd name="connsiteX7" fmla="*/ 11904029 w 12192000"/>
              <a:gd name="connsiteY7" fmla="*/ 1025401 h 6858000"/>
              <a:gd name="connsiteX8" fmla="*/ 11902124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65661 h 6858000"/>
              <a:gd name="connsiteX6" fmla="*/ 10398585 w 12192000"/>
              <a:gd name="connsiteY6" fmla="*/ 778386 h 6858000"/>
              <a:gd name="connsiteX7" fmla="*/ 11904029 w 12192000"/>
              <a:gd name="connsiteY7" fmla="*/ 1025401 h 6858000"/>
              <a:gd name="connsiteX8" fmla="*/ 11902124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65661 h 6858000"/>
              <a:gd name="connsiteX6" fmla="*/ 10145220 w 12192000"/>
              <a:gd name="connsiteY6" fmla="*/ 1027941 h 6858000"/>
              <a:gd name="connsiteX7" fmla="*/ 11904029 w 12192000"/>
              <a:gd name="connsiteY7" fmla="*/ 1025401 h 6858000"/>
              <a:gd name="connsiteX8" fmla="*/ 11902124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285750 w 12192000"/>
              <a:gd name="connsiteY1" fmla="*/ 659576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46490 w 12192000"/>
              <a:gd name="connsiteY5" fmla="*/ 265661 h 6858000"/>
              <a:gd name="connsiteX6" fmla="*/ 10145220 w 12192000"/>
              <a:gd name="connsiteY6" fmla="*/ 1027941 h 6858000"/>
              <a:gd name="connsiteX7" fmla="*/ 11904029 w 12192000"/>
              <a:gd name="connsiteY7" fmla="*/ 1025401 h 6858000"/>
              <a:gd name="connsiteX8" fmla="*/ 11902124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285750 w 12192000"/>
              <a:gd name="connsiteY0" fmla="*/ 2822204 h 6858000"/>
              <a:gd name="connsiteX1" fmla="*/ 285750 w 12192000"/>
              <a:gd name="connsiteY1" fmla="*/ 659576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285750 w 12192000"/>
              <a:gd name="connsiteY4" fmla="*/ 2822204 h 6858000"/>
              <a:gd name="connsiteX5" fmla="*/ 10146490 w 12192000"/>
              <a:gd name="connsiteY5" fmla="*/ 265661 h 6858000"/>
              <a:gd name="connsiteX6" fmla="*/ 10145220 w 12192000"/>
              <a:gd name="connsiteY6" fmla="*/ 1027941 h 6858000"/>
              <a:gd name="connsiteX7" fmla="*/ 11904029 w 12192000"/>
              <a:gd name="connsiteY7" fmla="*/ 1025401 h 6858000"/>
              <a:gd name="connsiteX8" fmla="*/ 11902124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285750 w 12192000"/>
              <a:gd name="connsiteY0" fmla="*/ 2822204 h 6858000"/>
              <a:gd name="connsiteX1" fmla="*/ 285750 w 12192000"/>
              <a:gd name="connsiteY1" fmla="*/ 6595767 h 6858000"/>
              <a:gd name="connsiteX2" fmla="*/ 5401950 w 12192000"/>
              <a:gd name="connsiteY2" fmla="*/ 6534807 h 6858000"/>
              <a:gd name="connsiteX3" fmla="*/ 5330830 w 12192000"/>
              <a:gd name="connsiteY3" fmla="*/ 2822204 h 6858000"/>
              <a:gd name="connsiteX4" fmla="*/ 285750 w 12192000"/>
              <a:gd name="connsiteY4" fmla="*/ 2822204 h 6858000"/>
              <a:gd name="connsiteX5" fmla="*/ 10146490 w 12192000"/>
              <a:gd name="connsiteY5" fmla="*/ 265661 h 6858000"/>
              <a:gd name="connsiteX6" fmla="*/ 10145220 w 12192000"/>
              <a:gd name="connsiteY6" fmla="*/ 1027941 h 6858000"/>
              <a:gd name="connsiteX7" fmla="*/ 11904029 w 12192000"/>
              <a:gd name="connsiteY7" fmla="*/ 1025401 h 6858000"/>
              <a:gd name="connsiteX8" fmla="*/ 11902124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285750 w 12192000"/>
              <a:gd name="connsiteY0" fmla="*/ 2822204 h 6858000"/>
              <a:gd name="connsiteX1" fmla="*/ 285750 w 12192000"/>
              <a:gd name="connsiteY1" fmla="*/ 6595767 h 6858000"/>
              <a:gd name="connsiteX2" fmla="*/ 5325750 w 12192000"/>
              <a:gd name="connsiteY2" fmla="*/ 6595767 h 6858000"/>
              <a:gd name="connsiteX3" fmla="*/ 5330830 w 12192000"/>
              <a:gd name="connsiteY3" fmla="*/ 2822204 h 6858000"/>
              <a:gd name="connsiteX4" fmla="*/ 285750 w 12192000"/>
              <a:gd name="connsiteY4" fmla="*/ 2822204 h 6858000"/>
              <a:gd name="connsiteX5" fmla="*/ 10146490 w 12192000"/>
              <a:gd name="connsiteY5" fmla="*/ 265661 h 6858000"/>
              <a:gd name="connsiteX6" fmla="*/ 10145220 w 12192000"/>
              <a:gd name="connsiteY6" fmla="*/ 1027941 h 6858000"/>
              <a:gd name="connsiteX7" fmla="*/ 11904029 w 12192000"/>
              <a:gd name="connsiteY7" fmla="*/ 1025401 h 6858000"/>
              <a:gd name="connsiteX8" fmla="*/ 11902124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0">
                <a:moveTo>
                  <a:pt x="285750" y="2822204"/>
                </a:moveTo>
                <a:lnTo>
                  <a:pt x="285750" y="6595767"/>
                </a:lnTo>
                <a:lnTo>
                  <a:pt x="5325750" y="6595767"/>
                </a:lnTo>
                <a:cubicBezTo>
                  <a:pt x="5327443" y="5337913"/>
                  <a:pt x="5329137" y="4080058"/>
                  <a:pt x="5330830" y="2822204"/>
                </a:cubicBezTo>
                <a:lnTo>
                  <a:pt x="285750" y="2822204"/>
                </a:lnTo>
                <a:close/>
                <a:moveTo>
                  <a:pt x="10146490" y="265661"/>
                </a:moveTo>
                <a:cubicBezTo>
                  <a:pt x="10144797" y="524199"/>
                  <a:pt x="10146913" y="769403"/>
                  <a:pt x="10145220" y="1027941"/>
                </a:cubicBezTo>
                <a:lnTo>
                  <a:pt x="11904029" y="1025401"/>
                </a:lnTo>
                <a:lnTo>
                  <a:pt x="11902124" y="267566"/>
                </a:lnTo>
                <a:lnTo>
                  <a:pt x="10146490" y="26566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8" name="Subline">
            <a:extLst>
              <a:ext uri="{FF2B5EF4-FFF2-40B4-BE49-F238E27FC236}">
                <a16:creationId xmlns:a16="http://schemas.microsoft.com/office/drawing/2014/main" id="{F64F20BE-9490-4534-8D22-D527DF582B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4904" y="5510860"/>
            <a:ext cx="5040313" cy="360000"/>
          </a:xfrm>
          <a:prstGeom prst="rect">
            <a:avLst/>
          </a:prstGeom>
        </p:spPr>
        <p:txBody>
          <a:bodyPr lIns="288000" rIns="288000" anchor="b" anchorCtr="0">
            <a:noAutofit/>
          </a:bodyPr>
          <a:lstStyle>
            <a:lvl1pPr marL="0" indent="0">
              <a:buNone/>
              <a:defRPr sz="1600" b="1" cap="none" baseline="0">
                <a:latin typeface="+mj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DCF84473-59A5-4A28-B312-2557D7CFAF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4904" y="5886100"/>
            <a:ext cx="5040313" cy="189474"/>
          </a:xfrm>
          <a:prstGeom prst="rect">
            <a:avLst/>
          </a:prstGeom>
        </p:spPr>
        <p:txBody>
          <a:bodyPr lIns="288000" tIns="36000">
            <a:noAutofit/>
          </a:bodyPr>
          <a:lstStyle>
            <a:lvl1pPr marL="0" indent="0">
              <a:buNone/>
              <a:defRPr sz="1600" cap="none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57D522EB-93F7-49B3-9164-076263457E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04" y="6091840"/>
            <a:ext cx="5040313" cy="189474"/>
          </a:xfrm>
          <a:prstGeom prst="rect">
            <a:avLst/>
          </a:prstGeom>
        </p:spPr>
        <p:txBody>
          <a:bodyPr lIns="288000" tIns="36000">
            <a:noAutofit/>
          </a:bodyPr>
          <a:lstStyle>
            <a:lvl1pPr marL="0" indent="0">
              <a:buNone/>
              <a:defRPr sz="1600" cap="none" baseline="0"/>
            </a:lvl1pPr>
          </a:lstStyle>
          <a:p>
            <a:pPr lvl="0"/>
            <a:r>
              <a:rPr lang="de-DE" dirty="0"/>
              <a:t>Datum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CF86407-DA27-4CA6-A346-F8477F884E96}"/>
              </a:ext>
            </a:extLst>
          </p:cNvPr>
          <p:cNvSpPr>
            <a:spLocks/>
          </p:cNvSpPr>
          <p:nvPr userDrawn="1"/>
        </p:nvSpPr>
        <p:spPr>
          <a:xfrm>
            <a:off x="-1939923" y="2913099"/>
            <a:ext cx="1772284" cy="1031803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0" dirty="0">
                <a:solidFill>
                  <a:schemeClr val="tx1"/>
                </a:solidFill>
              </a:rPr>
              <a:t>Please do not print slides with full-surface colors or motifs 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284904" y="2821005"/>
            <a:ext cx="5040313" cy="2627144"/>
          </a:xfrm>
        </p:spPr>
        <p:txBody>
          <a:bodyPr lIns="288000" tIns="288000" rIns="288000" bIns="288000"/>
          <a:lstStyle>
            <a:lvl1pPr>
              <a:spcAft>
                <a:spcPts val="0"/>
              </a:spcAft>
              <a:defRPr sz="3200">
                <a:latin typeface="STIHL Contraface Display Title" pitchFamily="50" charset="0"/>
              </a:defRPr>
            </a:lvl1pPr>
            <a:lvl2pPr>
              <a:spcAft>
                <a:spcPts val="0"/>
              </a:spcAft>
              <a:defRPr>
                <a:latin typeface="STIHL Contraface Display Title" pitchFamily="50" charset="0"/>
              </a:defRPr>
            </a:lvl2pPr>
            <a:lvl3pPr>
              <a:spcAft>
                <a:spcPts val="0"/>
              </a:spcAft>
              <a:defRPr>
                <a:latin typeface="STIHL Contraface Display Title" pitchFamily="50" charset="0"/>
              </a:defRPr>
            </a:lvl3pPr>
            <a:lvl4pPr>
              <a:spcAft>
                <a:spcPts val="0"/>
              </a:spcAft>
              <a:defRPr>
                <a:latin typeface="STIHL Contraface Display Title" pitchFamily="50" charset="0"/>
              </a:defRPr>
            </a:lvl4pPr>
            <a:lvl5pPr>
              <a:spcAft>
                <a:spcPts val="0"/>
              </a:spcAft>
              <a:defRPr>
                <a:latin typeface="STIHL Contraface Display Title" pitchFamily="50" charset="0"/>
              </a:defRPr>
            </a:lvl5pPr>
          </a:lstStyle>
          <a:p>
            <a:pPr lvl="0"/>
            <a:r>
              <a:rPr lang="de-DE" dirty="0"/>
              <a:t>Mastertitel-format bearbeiten</a:t>
            </a:r>
            <a:br>
              <a:rPr lang="de-DE" dirty="0"/>
            </a:br>
            <a:r>
              <a:rPr lang="de-DE" dirty="0"/>
              <a:t>ƒ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CF86407-DA27-4CA6-A346-F8477F884E96}"/>
              </a:ext>
            </a:extLst>
          </p:cNvPr>
          <p:cNvSpPr>
            <a:spLocks/>
          </p:cNvSpPr>
          <p:nvPr userDrawn="1"/>
        </p:nvSpPr>
        <p:spPr>
          <a:xfrm>
            <a:off x="-1943099" y="4254839"/>
            <a:ext cx="1772284" cy="16966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72000" bIns="7200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1600" b="0" dirty="0">
                <a:solidFill>
                  <a:schemeClr val="tx1"/>
                </a:solidFill>
              </a:rPr>
              <a:t>Insert the underline after the headline using the numeric keypad and the key combination "Alt + 0131“</a:t>
            </a:r>
          </a:p>
        </p:txBody>
      </p:sp>
    </p:spTree>
    <p:extLst>
      <p:ext uri="{BB962C8B-B14F-4D97-AF65-F5344CB8AC3E}">
        <p14:creationId xmlns:p14="http://schemas.microsoft.com/office/powerpoint/2010/main" val="30710793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/ Text Inhal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C37FF3E-A92A-4E10-BE06-1BAF6DBEE3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C37FF3E-A92A-4E10-BE06-1BAF6DBEE3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59466C3-9696-446B-A506-2764C30C52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200" b="1" i="0" baseline="0" dirty="0">
              <a:solidFill>
                <a:schemeClr val="tx1"/>
              </a:solidFill>
              <a:latin typeface="STIHL Contraface Text"/>
              <a:ea typeface="+mj-ea"/>
              <a:cs typeface="+mj-cs"/>
              <a:sym typeface="STIHL Contraface Text"/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3645C76C-2B5D-4ED3-8A37-4C9BFA9F1D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503546"/>
            <a:ext cx="9579925" cy="30469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2200" dirty="0"/>
            </a:lvl1pPr>
          </a:lstStyle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6910D21-640F-4D2A-A173-3AEDAE01B91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6" y="1605307"/>
            <a:ext cx="5384332" cy="484934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5E1810CB-B3A3-4F48-882E-1806957C5A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7" y="1130300"/>
            <a:ext cx="11233147" cy="249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de-DE" sz="1800" cap="none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114300" lvl="0" indent="-34290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6" hasCustomPrompt="1"/>
          </p:nvPr>
        </p:nvSpPr>
        <p:spPr>
          <a:xfrm>
            <a:off x="6328242" y="1605307"/>
            <a:ext cx="5384332" cy="484934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327804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nges Bild links /Text Inhal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0" imgH="371" progId="TCLayout.ActiveDocument.1">
                  <p:embed/>
                </p:oleObj>
              </mc:Choice>
              <mc:Fallback>
                <p:oleObj name="think-cell Folie" r:id="rId3" imgW="370" imgH="37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6910D21-640F-4D2A-A173-3AEDAE01B91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068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4" hasCustomPrompt="1"/>
          </p:nvPr>
        </p:nvSpPr>
        <p:spPr>
          <a:xfrm>
            <a:off x="4547426" y="1605307"/>
            <a:ext cx="5488114" cy="484946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657919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groß links /Text Inhal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0" imgH="371" progId="TCLayout.ActiveDocument.1">
                  <p:embed/>
                </p:oleObj>
              </mc:Choice>
              <mc:Fallback>
                <p:oleObj name="think-cell Folie" r:id="rId3" imgW="370" imgH="37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6910D21-640F-4D2A-A173-3AEDAE01B91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731876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4" hasCustomPrompt="1"/>
          </p:nvPr>
        </p:nvSpPr>
        <p:spPr>
          <a:xfrm>
            <a:off x="7209713" y="1605307"/>
            <a:ext cx="4502861" cy="484934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413557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435B4EBB-2F7A-4AE4-BD00-67C8C0B62C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435B4EBB-2F7A-4AE4-BD00-67C8C0B62C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7CB53B2-ECA4-444A-AB4E-723BCED04A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200" b="1" i="0" baseline="0" dirty="0">
              <a:solidFill>
                <a:schemeClr val="tx1"/>
              </a:solidFill>
              <a:latin typeface="STIHL Contraface Text"/>
              <a:ea typeface="+mj-ea"/>
              <a:cs typeface="+mj-cs"/>
              <a:sym typeface="STIHL Contraface Text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4A3FDA9-3CE6-48AD-AE14-9F756B6E73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7" y="4810091"/>
            <a:ext cx="5384333" cy="164455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D7E1FB2-B072-4C41-88FD-F720EB87728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28241" y="4810091"/>
            <a:ext cx="5384333" cy="1644556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1D6E84FA-FD4E-4697-91A3-11CC718B6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503546"/>
            <a:ext cx="9579925" cy="30469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2200" dirty="0"/>
            </a:lvl1pPr>
          </a:lstStyle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6584C2F4-58E3-486D-88D2-9F6D570B6C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7" y="1130300"/>
            <a:ext cx="11233147" cy="249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de-DE" sz="1800" cap="none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114300" lvl="0" indent="-34290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4" hasCustomPrompt="1"/>
          </p:nvPr>
        </p:nvSpPr>
        <p:spPr>
          <a:xfrm>
            <a:off x="479427" y="1605307"/>
            <a:ext cx="5384333" cy="3075921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15" hasCustomPrompt="1"/>
          </p:nvPr>
        </p:nvSpPr>
        <p:spPr>
          <a:xfrm>
            <a:off x="6328241" y="1605307"/>
            <a:ext cx="5384333" cy="3075921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588841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0" imgH="371" progId="TCLayout.ActiveDocument.1">
                  <p:embed/>
                </p:oleObj>
              </mc:Choice>
              <mc:Fallback>
                <p:oleObj name="think-cell Folie" r:id="rId3" imgW="370" imgH="37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ED7967F9-E942-4760-BBB0-7377F089841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CF86407-DA27-4CA6-A346-F8477F884E96}"/>
              </a:ext>
            </a:extLst>
          </p:cNvPr>
          <p:cNvSpPr>
            <a:spLocks/>
          </p:cNvSpPr>
          <p:nvPr userDrawn="1"/>
        </p:nvSpPr>
        <p:spPr>
          <a:xfrm>
            <a:off x="-1939923" y="2913099"/>
            <a:ext cx="1772284" cy="1031803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0" dirty="0">
                <a:solidFill>
                  <a:schemeClr val="tx1"/>
                </a:solidFill>
              </a:rPr>
              <a:t>Please do not print slides with full-surface colors or motifs </a:t>
            </a:r>
          </a:p>
        </p:txBody>
      </p:sp>
    </p:spTree>
    <p:extLst>
      <p:ext uri="{BB962C8B-B14F-4D97-AF65-F5344CB8AC3E}">
        <p14:creationId xmlns:p14="http://schemas.microsoft.com/office/powerpoint/2010/main" val="20842892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ünf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0" imgH="371" progId="TCLayout.ActiveDocument.1">
                  <p:embed/>
                </p:oleObj>
              </mc:Choice>
              <mc:Fallback>
                <p:oleObj name="think-cell Folie" r:id="rId3" imgW="370" imgH="37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ED7967F9-E942-4760-BBB0-7377F089841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7" y="503236"/>
            <a:ext cx="7434865" cy="28766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4" name="Bildplatzhalter 7">
            <a:extLst>
              <a:ext uri="{FF2B5EF4-FFF2-40B4-BE49-F238E27FC236}">
                <a16:creationId xmlns:a16="http://schemas.microsoft.com/office/drawing/2014/main" id="{3874E60C-732A-46D4-A0D2-7308833B35F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12574" y="503236"/>
            <a:ext cx="3600000" cy="28766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Bildplatzhalter 7">
            <a:extLst>
              <a:ext uri="{FF2B5EF4-FFF2-40B4-BE49-F238E27FC236}">
                <a16:creationId xmlns:a16="http://schemas.microsoft.com/office/drawing/2014/main" id="{39157FFC-465D-4202-AA4E-49F8E951F1B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12574" y="3578021"/>
            <a:ext cx="3600000" cy="28766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Bildplatzhalter 7">
            <a:extLst>
              <a:ext uri="{FF2B5EF4-FFF2-40B4-BE49-F238E27FC236}">
                <a16:creationId xmlns:a16="http://schemas.microsoft.com/office/drawing/2014/main" id="{398ADFCC-9F73-4FCE-B41A-76494D790BA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26524" y="3578021"/>
            <a:ext cx="4587765" cy="28766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7" name="Bildplatzhalter 7">
            <a:extLst>
              <a:ext uri="{FF2B5EF4-FFF2-40B4-BE49-F238E27FC236}">
                <a16:creationId xmlns:a16="http://schemas.microsoft.com/office/drawing/2014/main" id="{9C2AE974-6668-41BF-9CA5-FBFDB292E2F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9427" y="3578021"/>
            <a:ext cx="2648814" cy="28766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CF86407-DA27-4CA6-A346-F8477F884E96}"/>
              </a:ext>
            </a:extLst>
          </p:cNvPr>
          <p:cNvSpPr>
            <a:spLocks/>
          </p:cNvSpPr>
          <p:nvPr userDrawn="1"/>
        </p:nvSpPr>
        <p:spPr>
          <a:xfrm>
            <a:off x="-1939923" y="2913099"/>
            <a:ext cx="1772284" cy="1031803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0" dirty="0">
                <a:solidFill>
                  <a:schemeClr val="tx1"/>
                </a:solidFill>
              </a:rPr>
              <a:t>Please do not print slides with full-surface colors or motifs </a:t>
            </a:r>
          </a:p>
        </p:txBody>
      </p:sp>
    </p:spTree>
    <p:extLst>
      <p:ext uri="{BB962C8B-B14F-4D97-AF65-F5344CB8AC3E}">
        <p14:creationId xmlns:p14="http://schemas.microsoft.com/office/powerpoint/2010/main" val="9894352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0" imgH="371" progId="TCLayout.ActiveDocument.1">
                  <p:embed/>
                </p:oleObj>
              </mc:Choice>
              <mc:Fallback>
                <p:oleObj name="think-cell Folie" r:id="rId3" imgW="370" imgH="37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ED7967F9-E942-4760-BBB0-7377F089841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7" y="503236"/>
            <a:ext cx="6912000" cy="5951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4" name="Bildplatzhalter 7">
            <a:extLst>
              <a:ext uri="{FF2B5EF4-FFF2-40B4-BE49-F238E27FC236}">
                <a16:creationId xmlns:a16="http://schemas.microsoft.com/office/drawing/2014/main" id="{3874E60C-732A-46D4-A0D2-7308833B35F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587672" y="503236"/>
            <a:ext cx="4124902" cy="28766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77162A5A-203D-4041-B750-63013653294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587672" y="3578025"/>
            <a:ext cx="4124902" cy="28766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CF86407-DA27-4CA6-A346-F8477F884E96}"/>
              </a:ext>
            </a:extLst>
          </p:cNvPr>
          <p:cNvSpPr>
            <a:spLocks/>
          </p:cNvSpPr>
          <p:nvPr userDrawn="1"/>
        </p:nvSpPr>
        <p:spPr>
          <a:xfrm>
            <a:off x="-1939923" y="2913099"/>
            <a:ext cx="1772284" cy="1031803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0" dirty="0">
                <a:solidFill>
                  <a:schemeClr val="tx1"/>
                </a:solidFill>
              </a:rPr>
              <a:t>Please do not print slides with full-surface colors or motifs </a:t>
            </a:r>
          </a:p>
        </p:txBody>
      </p:sp>
    </p:spTree>
    <p:extLst>
      <p:ext uri="{BB962C8B-B14F-4D97-AF65-F5344CB8AC3E}">
        <p14:creationId xmlns:p14="http://schemas.microsoft.com/office/powerpoint/2010/main" val="33323596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0" imgH="371" progId="TCLayout.ActiveDocument.1">
                  <p:embed/>
                </p:oleObj>
              </mc:Choice>
              <mc:Fallback>
                <p:oleObj name="think-cell Folie" r:id="rId3" imgW="370" imgH="37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itel 10">
            <a:extLst>
              <a:ext uri="{FF2B5EF4-FFF2-40B4-BE49-F238E27FC236}">
                <a16:creationId xmlns:a16="http://schemas.microsoft.com/office/drawing/2014/main" id="{1D6E84FA-FD4E-4697-91A3-11CC718B6B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6" y="503546"/>
            <a:ext cx="9579925" cy="30469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2200" dirty="0"/>
            </a:lvl1pPr>
          </a:lstStyle>
          <a:p>
            <a:pPr lvl="0"/>
            <a:r>
              <a:rPr lang="de-DE" dirty="0"/>
              <a:t>Inhaltsverzeichnis</a:t>
            </a:r>
          </a:p>
        </p:txBody>
      </p:sp>
    </p:spTree>
    <p:extLst>
      <p:ext uri="{BB962C8B-B14F-4D97-AF65-F5344CB8AC3E}">
        <p14:creationId xmlns:p14="http://schemas.microsoft.com/office/powerpoint/2010/main" val="2577031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7284A891-5E1D-4980-82BD-6F9B00786B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7284A891-5E1D-4980-82BD-6F9B00786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A0EBB2D-04DD-4B13-A2B0-37AB008C81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200" b="1" i="0" baseline="0" dirty="0">
              <a:solidFill>
                <a:schemeClr val="tx1"/>
              </a:solidFill>
              <a:latin typeface="STIHL Contraface Text"/>
              <a:ea typeface="+mj-ea"/>
              <a:cs typeface="+mj-cs"/>
              <a:sym typeface="STIHL Contraface Tex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3F08C5B-9A65-4A23-ACF8-CA49D9A50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503236"/>
            <a:ext cx="9579925" cy="30469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2200" dirty="0"/>
            </a:lvl1pPr>
          </a:lstStyle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7" name="Bildplatzhalter 9">
            <a:extLst>
              <a:ext uri="{FF2B5EF4-FFF2-40B4-BE49-F238E27FC236}">
                <a16:creationId xmlns:a16="http://schemas.microsoft.com/office/drawing/2014/main" id="{69EDD33E-CDCE-4ED7-976C-0525AB8393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79427" y="1605435"/>
            <a:ext cx="2700000" cy="24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9" name="Bildplatzhalter 9">
            <a:extLst>
              <a:ext uri="{FF2B5EF4-FFF2-40B4-BE49-F238E27FC236}">
                <a16:creationId xmlns:a16="http://schemas.microsoft.com/office/drawing/2014/main" id="{FFCE445F-61AB-4BA3-AA45-CBE92E01B5B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323809" y="1605435"/>
            <a:ext cx="2700000" cy="24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C6E1C422-2E48-4AA7-BA8B-DF5876F1994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68191" y="1605435"/>
            <a:ext cx="2700000" cy="24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CF807233-9F93-4EF7-B70B-AF6B1EFA8A9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012574" y="1605435"/>
            <a:ext cx="2700000" cy="24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7" name="Textplatzhalter 8">
            <a:extLst>
              <a:ext uri="{FF2B5EF4-FFF2-40B4-BE49-F238E27FC236}">
                <a16:creationId xmlns:a16="http://schemas.microsoft.com/office/drawing/2014/main" id="{F831011C-DA8E-41C7-8CDC-0BCF08BF23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7" y="1130300"/>
            <a:ext cx="11233147" cy="249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de-DE" sz="1800" cap="none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114300" lvl="0" indent="-34290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479427" y="4253329"/>
            <a:ext cx="2700000" cy="220131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323809" y="4253329"/>
            <a:ext cx="2700000" cy="220131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68191" y="4253329"/>
            <a:ext cx="2700000" cy="220131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9012574" y="4253329"/>
            <a:ext cx="2700000" cy="220131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0985326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Botschaft">
    <p:bg>
      <p:bgPr>
        <a:solidFill>
          <a:srgbClr val="F37A1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70" imgH="371" progId="TCLayout.ActiveDocument.1">
                  <p:embed/>
                </p:oleObj>
              </mc:Choice>
              <mc:Fallback>
                <p:oleObj name="think-cell Folie" r:id="rId5" imgW="370" imgH="37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400" b="1" i="0" baseline="0" dirty="0">
              <a:solidFill>
                <a:schemeClr val="tx1"/>
              </a:solidFill>
              <a:latin typeface="STIHL Contraface Display Title" panose="02000600040000020004" pitchFamily="50" charset="0"/>
              <a:ea typeface="+mj-ea"/>
              <a:cs typeface="+mj-cs"/>
              <a:sym typeface="STIHL Contraface Display Title" panose="02000600040000020004" pitchFamily="50" charset="0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68237" y="1186684"/>
            <a:ext cx="450670" cy="609398"/>
          </a:xfrm>
        </p:spPr>
        <p:txBody>
          <a:bodyPr wrap="square">
            <a:noAutofit/>
          </a:bodyPr>
          <a:lstStyle>
            <a:lvl1pPr>
              <a:tabLst>
                <a:tab pos="449263" algn="l"/>
              </a:tabLst>
              <a:defRPr sz="4400">
                <a:solidFill>
                  <a:schemeClr val="bg1"/>
                </a:solidFill>
                <a:latin typeface="STIHL Contraface Display Title" pitchFamily="50" charset="0"/>
              </a:defRPr>
            </a:lvl1pPr>
          </a:lstStyle>
          <a:p>
            <a:pPr lvl="0"/>
            <a:r>
              <a:rPr lang="de-DE" dirty="0"/>
              <a:t>»	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1018907" y="3806696"/>
            <a:ext cx="10695255" cy="249299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282F2CC6-4FF4-4A58-802A-E33AC37E42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18907" y="1186684"/>
            <a:ext cx="10695256" cy="609398"/>
          </a:xfrm>
        </p:spPr>
        <p:txBody>
          <a:bodyPr wrap="square">
            <a:spAutoFit/>
          </a:bodyPr>
          <a:lstStyle>
            <a:lvl1pPr>
              <a:tabLst>
                <a:tab pos="449263" algn="l"/>
              </a:tabLst>
              <a:defRPr sz="4400">
                <a:solidFill>
                  <a:schemeClr val="bg1"/>
                </a:solidFill>
                <a:latin typeface="STIHL Contraface Display Title" pitchFamily="50" charset="0"/>
              </a:defRPr>
            </a:lvl1pPr>
          </a:lstStyle>
          <a:p>
            <a:pPr lvl="0"/>
            <a:r>
              <a:rPr lang="de-DE" dirty="0"/>
              <a:t>Zitat «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CF86407-DA27-4CA6-A346-F8477F884E96}"/>
              </a:ext>
            </a:extLst>
          </p:cNvPr>
          <p:cNvSpPr>
            <a:spLocks/>
          </p:cNvSpPr>
          <p:nvPr userDrawn="1"/>
        </p:nvSpPr>
        <p:spPr>
          <a:xfrm>
            <a:off x="-1943099" y="3144747"/>
            <a:ext cx="1772284" cy="1031803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1600" b="0" dirty="0">
                <a:solidFill>
                  <a:schemeClr val="tx1"/>
                </a:solidFill>
              </a:rPr>
              <a:t>Please do not print slides with full-surface colors or motifs 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CF86407-DA27-4CA6-A346-F8477F884E96}"/>
              </a:ext>
            </a:extLst>
          </p:cNvPr>
          <p:cNvSpPr>
            <a:spLocks/>
          </p:cNvSpPr>
          <p:nvPr userDrawn="1"/>
        </p:nvSpPr>
        <p:spPr>
          <a:xfrm>
            <a:off x="-1943099" y="0"/>
            <a:ext cx="1772284" cy="299313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b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600" dirty="0">
                <a:solidFill>
                  <a:schemeClr val="tx1"/>
                </a:solidFill>
                <a:latin typeface="STIHL Contraface Display Title" pitchFamily="50" charset="0"/>
              </a:rPr>
              <a:t>Guillemets</a:t>
            </a:r>
            <a:r>
              <a:rPr lang="en-US"/>
              <a:t> </a:t>
            </a:r>
          </a:p>
          <a:p>
            <a:pPr>
              <a:lnSpc>
                <a:spcPct val="90000"/>
              </a:lnSpc>
            </a:pPr>
            <a:endParaRPr lang="en-US" sz="1600" dirty="0">
              <a:solidFill>
                <a:schemeClr val="tx1"/>
              </a:solidFill>
              <a:latin typeface="STIHL Contraface Display Title" pitchFamily="50" charset="0"/>
            </a:endParaRPr>
          </a:p>
          <a:p>
            <a:pPr>
              <a:lnSpc>
                <a:spcPct val="90000"/>
              </a:lnSpc>
            </a:pPr>
            <a:r>
              <a:rPr lang="en-US" sz="1600" b="1" dirty="0">
                <a:solidFill>
                  <a:schemeClr val="tx1"/>
                </a:solidFill>
              </a:rPr>
              <a:t>PC (numeric keypad):</a:t>
            </a:r>
          </a:p>
          <a:p>
            <a: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tx1"/>
                </a:solidFill>
                <a:latin typeface="STIHL Contraface Display Title" pitchFamily="50" charset="0"/>
              </a:rPr>
              <a:t>» </a:t>
            </a:r>
            <a:r>
              <a:rPr lang="en-US" sz="1600" dirty="0">
                <a:solidFill>
                  <a:schemeClr val="tx1"/>
                </a:solidFill>
              </a:rPr>
              <a:t>Alt + 175</a:t>
            </a:r>
          </a:p>
          <a:p>
            <a:pPr>
              <a:lnSpc>
                <a:spcPct val="90000"/>
              </a:lnSpc>
            </a:pPr>
            <a:r>
              <a:rPr lang="en-US" sz="1600" dirty="0">
                <a:solidFill>
                  <a:schemeClr val="tx1"/>
                </a:solidFill>
                <a:latin typeface="STIHL Contraface Display Title" pitchFamily="50" charset="0"/>
              </a:rPr>
              <a:t>« </a:t>
            </a:r>
            <a:r>
              <a:rPr lang="en-US" sz="1600" dirty="0">
                <a:solidFill>
                  <a:schemeClr val="tx1"/>
                </a:solidFill>
              </a:rPr>
              <a:t>Alt +</a:t>
            </a:r>
            <a:r>
              <a:rPr lang="en-US"/>
              <a:t> </a:t>
            </a:r>
            <a:r>
              <a:rPr lang="en-US" sz="1600" dirty="0">
                <a:solidFill>
                  <a:schemeClr val="tx1"/>
                </a:solidFill>
              </a:rPr>
              <a:t>174</a:t>
            </a:r>
          </a:p>
          <a:p>
            <a:pPr>
              <a:lnSpc>
                <a:spcPct val="90000"/>
              </a:lnSpc>
            </a:pPr>
            <a:endParaRPr lang="en-US" sz="16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1600" b="1" dirty="0">
                <a:solidFill>
                  <a:schemeClr val="tx1"/>
                </a:solidFill>
              </a:rPr>
              <a:t>Mac:</a:t>
            </a:r>
          </a:p>
          <a:p>
            <a:pPr>
              <a:lnSpc>
                <a:spcPct val="90000"/>
              </a:lnSpc>
            </a:pPr>
            <a:r>
              <a:rPr lang="en-US" sz="1600" dirty="0">
                <a:solidFill>
                  <a:schemeClr val="tx1"/>
                </a:solidFill>
                <a:latin typeface="STIHL Contraface Display Title" pitchFamily="50" charset="0"/>
              </a:rPr>
              <a:t>» </a:t>
            </a:r>
            <a:r>
              <a:rPr lang="en-US" sz="1600" dirty="0">
                <a:solidFill>
                  <a:schemeClr val="tx1"/>
                </a:solidFill>
              </a:rPr>
              <a:t>Alt + Q</a:t>
            </a:r>
          </a:p>
          <a:p>
            <a: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schemeClr val="tx1"/>
                </a:solidFill>
                <a:latin typeface="STIHL Contraface Display Title" pitchFamily="50" charset="0"/>
              </a:rPr>
              <a:t>« </a:t>
            </a:r>
            <a:r>
              <a:rPr lang="en-US" sz="1600" dirty="0">
                <a:solidFill>
                  <a:schemeClr val="tx1"/>
                </a:solidFill>
              </a:rPr>
              <a:t>Alt + Shift + Q</a:t>
            </a:r>
          </a:p>
        </p:txBody>
      </p:sp>
      <p:sp>
        <p:nvSpPr>
          <p:cNvPr id="18" name="Textfeld 17"/>
          <p:cNvSpPr txBox="1"/>
          <p:nvPr userDrawn="1"/>
        </p:nvSpPr>
        <p:spPr>
          <a:xfrm>
            <a:off x="-1565910" y="1"/>
            <a:ext cx="1017907" cy="8390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en-US" sz="6000" dirty="0">
                <a:latin typeface="STIHL Contraface Display Title" pitchFamily="50" charset="0"/>
              </a:rPr>
              <a:t>» «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988648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e Titelfolie Hintergrund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70" imgH="371" progId="TCLayout.ActiveDocument.1">
                  <p:embed/>
                </p:oleObj>
              </mc:Choice>
              <mc:Fallback>
                <p:oleObj name="think-cell Folie" r:id="rId4" imgW="370" imgH="37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200" b="1" i="0" baseline="0" dirty="0">
              <a:solidFill>
                <a:schemeClr val="tx1"/>
              </a:solidFill>
              <a:latin typeface="STIHL Contraface Display Title"/>
              <a:ea typeface="+mn-ea"/>
              <a:cs typeface="+mn-cs"/>
              <a:sym typeface="STIHL Contraface Display Title"/>
            </a:endParaRP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6061" y="258750"/>
            <a:ext cx="1774212" cy="775631"/>
          </a:xfrm>
          <a:prstGeom prst="rect">
            <a:avLst/>
          </a:prstGeom>
        </p:spPr>
      </p:pic>
      <p:sp>
        <p:nvSpPr>
          <p:cNvPr id="17" name="Hintergrundbild">
            <a:extLst>
              <a:ext uri="{FF2B5EF4-FFF2-40B4-BE49-F238E27FC236}">
                <a16:creationId xmlns:a16="http://schemas.microsoft.com/office/drawing/2014/main" id="{91303CF3-1A7E-4149-A9A1-BC9B75037D6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10129345 w 12192000"/>
              <a:gd name="connsiteY4" fmla="*/ 344401 h 6858000"/>
              <a:gd name="connsiteX5" fmla="*/ 10129345 w 12192000"/>
              <a:gd name="connsiteY5" fmla="*/ 1099696 h 6858000"/>
              <a:gd name="connsiteX6" fmla="*/ 11857039 w 12192000"/>
              <a:gd name="connsiteY6" fmla="*/ 1099696 h 6858000"/>
              <a:gd name="connsiteX7" fmla="*/ 11857039 w 12192000"/>
              <a:gd name="connsiteY7" fmla="*/ 344401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29345 w 12192000"/>
              <a:gd name="connsiteY6" fmla="*/ 1099696 h 6858000"/>
              <a:gd name="connsiteX7" fmla="*/ 11857039 w 12192000"/>
              <a:gd name="connsiteY7" fmla="*/ 1099696 h 6858000"/>
              <a:gd name="connsiteX8" fmla="*/ 11857039 w 12192000"/>
              <a:gd name="connsiteY8" fmla="*/ 34440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29345 w 12192000"/>
              <a:gd name="connsiteY6" fmla="*/ 1099696 h 6858000"/>
              <a:gd name="connsiteX7" fmla="*/ 11857039 w 12192000"/>
              <a:gd name="connsiteY7" fmla="*/ 1099696 h 6858000"/>
              <a:gd name="connsiteX8" fmla="*/ 11910379 w 12192000"/>
              <a:gd name="connsiteY8" fmla="*/ 26058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29345 w 12192000"/>
              <a:gd name="connsiteY6" fmla="*/ 1099696 h 6858000"/>
              <a:gd name="connsiteX7" fmla="*/ 11910379 w 12192000"/>
              <a:gd name="connsiteY7" fmla="*/ 1029211 h 6858000"/>
              <a:gd name="connsiteX8" fmla="*/ 11910379 w 12192000"/>
              <a:gd name="connsiteY8" fmla="*/ 26058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10379 w 12192000"/>
              <a:gd name="connsiteY7" fmla="*/ 1029211 h 6858000"/>
              <a:gd name="connsiteX8" fmla="*/ 11910379 w 12192000"/>
              <a:gd name="connsiteY8" fmla="*/ 26058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10379 w 12192000"/>
              <a:gd name="connsiteY7" fmla="*/ 1029211 h 6858000"/>
              <a:gd name="connsiteX8" fmla="*/ 11902759 w 12192000"/>
              <a:gd name="connsiteY8" fmla="*/ 26820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23714 w 12192000"/>
              <a:gd name="connsiteY7" fmla="*/ 1048261 h 6858000"/>
              <a:gd name="connsiteX8" fmla="*/ 11902759 w 12192000"/>
              <a:gd name="connsiteY8" fmla="*/ 26820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04664 w 12192000"/>
              <a:gd name="connsiteY7" fmla="*/ 1029211 h 6858000"/>
              <a:gd name="connsiteX8" fmla="*/ 11902759 w 12192000"/>
              <a:gd name="connsiteY8" fmla="*/ 26820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42680 w 12192000"/>
              <a:gd name="connsiteY6" fmla="*/ 1025401 h 6858000"/>
              <a:gd name="connsiteX7" fmla="*/ 11904664 w 12192000"/>
              <a:gd name="connsiteY7" fmla="*/ 1029211 h 6858000"/>
              <a:gd name="connsiteX8" fmla="*/ 11902759 w 12192000"/>
              <a:gd name="connsiteY8" fmla="*/ 26820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46490 w 12192000"/>
              <a:gd name="connsiteY5" fmla="*/ 268201 h 6858000"/>
              <a:gd name="connsiteX6" fmla="*/ 10142680 w 12192000"/>
              <a:gd name="connsiteY6" fmla="*/ 1025401 h 6858000"/>
              <a:gd name="connsiteX7" fmla="*/ 11904664 w 12192000"/>
              <a:gd name="connsiteY7" fmla="*/ 1029211 h 6858000"/>
              <a:gd name="connsiteX8" fmla="*/ 11902759 w 12192000"/>
              <a:gd name="connsiteY8" fmla="*/ 268201 h 6858000"/>
              <a:gd name="connsiteX9" fmla="*/ 10146490 w 12192000"/>
              <a:gd name="connsiteY9" fmla="*/ 26820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295080 w 12192000"/>
              <a:gd name="connsiteY5" fmla="*/ 361546 h 6858000"/>
              <a:gd name="connsiteX6" fmla="*/ 10142680 w 12192000"/>
              <a:gd name="connsiteY6" fmla="*/ 1025401 h 6858000"/>
              <a:gd name="connsiteX7" fmla="*/ 11904664 w 12192000"/>
              <a:gd name="connsiteY7" fmla="*/ 1029211 h 6858000"/>
              <a:gd name="connsiteX8" fmla="*/ 11902759 w 12192000"/>
              <a:gd name="connsiteY8" fmla="*/ 268201 h 6858000"/>
              <a:gd name="connsiteX9" fmla="*/ 10295080 w 12192000"/>
              <a:gd name="connsiteY9" fmla="*/ 36154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2680 w 12192000"/>
              <a:gd name="connsiteY6" fmla="*/ 1025401 h 6858000"/>
              <a:gd name="connsiteX7" fmla="*/ 11904664 w 12192000"/>
              <a:gd name="connsiteY7" fmla="*/ 1029211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2680 w 12192000"/>
              <a:gd name="connsiteY6" fmla="*/ 1025401 h 6858000"/>
              <a:gd name="connsiteX7" fmla="*/ 11830369 w 12192000"/>
              <a:gd name="connsiteY7" fmla="*/ 964441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2680 w 12192000"/>
              <a:gd name="connsiteY6" fmla="*/ 1025401 h 6858000"/>
              <a:gd name="connsiteX7" fmla="*/ 11904664 w 12192000"/>
              <a:gd name="connsiteY7" fmla="*/ 1025401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2680 w 12192000"/>
              <a:gd name="connsiteY6" fmla="*/ 1025401 h 6858000"/>
              <a:gd name="connsiteX7" fmla="*/ 11904664 w 12192000"/>
              <a:gd name="connsiteY7" fmla="*/ 1025401 h 6858000"/>
              <a:gd name="connsiteX8" fmla="*/ 11757979 w 12192000"/>
              <a:gd name="connsiteY8" fmla="*/ 39774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2680 w 12192000"/>
              <a:gd name="connsiteY6" fmla="*/ 1025401 h 6858000"/>
              <a:gd name="connsiteX7" fmla="*/ 11904664 w 12192000"/>
              <a:gd name="connsiteY7" fmla="*/ 1025401 h 6858000"/>
              <a:gd name="connsiteX8" fmla="*/ 11904664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262695 w 12192000"/>
              <a:gd name="connsiteY5" fmla="*/ 352021 h 6858000"/>
              <a:gd name="connsiteX6" fmla="*/ 10142680 w 12192000"/>
              <a:gd name="connsiteY6" fmla="*/ 1025401 h 6858000"/>
              <a:gd name="connsiteX7" fmla="*/ 11904664 w 12192000"/>
              <a:gd name="connsiteY7" fmla="*/ 1025401 h 6858000"/>
              <a:gd name="connsiteX8" fmla="*/ 11904664 w 12192000"/>
              <a:gd name="connsiteY8" fmla="*/ 268201 h 6858000"/>
              <a:gd name="connsiteX9" fmla="*/ 10262695 w 12192000"/>
              <a:gd name="connsiteY9" fmla="*/ 35202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46490 w 12192000"/>
              <a:gd name="connsiteY5" fmla="*/ 268201 h 6858000"/>
              <a:gd name="connsiteX6" fmla="*/ 10142680 w 12192000"/>
              <a:gd name="connsiteY6" fmla="*/ 1025401 h 6858000"/>
              <a:gd name="connsiteX7" fmla="*/ 11904664 w 12192000"/>
              <a:gd name="connsiteY7" fmla="*/ 1025401 h 6858000"/>
              <a:gd name="connsiteX8" fmla="*/ 11904664 w 12192000"/>
              <a:gd name="connsiteY8" fmla="*/ 268201 h 6858000"/>
              <a:gd name="connsiteX9" fmla="*/ 10146490 w 12192000"/>
              <a:gd name="connsiteY9" fmla="*/ 26820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282702 w 12192000"/>
              <a:gd name="connsiteY0" fmla="*/ 25296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282702 w 12192000"/>
              <a:gd name="connsiteY4" fmla="*/ 252962 h 6858000"/>
              <a:gd name="connsiteX5" fmla="*/ 10146490 w 12192000"/>
              <a:gd name="connsiteY5" fmla="*/ 268201 h 6858000"/>
              <a:gd name="connsiteX6" fmla="*/ 10142680 w 12192000"/>
              <a:gd name="connsiteY6" fmla="*/ 1025401 h 6858000"/>
              <a:gd name="connsiteX7" fmla="*/ 11904664 w 12192000"/>
              <a:gd name="connsiteY7" fmla="*/ 1025401 h 6858000"/>
              <a:gd name="connsiteX8" fmla="*/ 11904664 w 12192000"/>
              <a:gd name="connsiteY8" fmla="*/ 268201 h 6858000"/>
              <a:gd name="connsiteX9" fmla="*/ 10146490 w 12192000"/>
              <a:gd name="connsiteY9" fmla="*/ 26820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282702 w 12192000"/>
              <a:gd name="connsiteY0" fmla="*/ 25296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334894 w 12192000"/>
              <a:gd name="connsiteY3" fmla="*/ 259058 h 6858000"/>
              <a:gd name="connsiteX4" fmla="*/ 282702 w 12192000"/>
              <a:gd name="connsiteY4" fmla="*/ 252962 h 6858000"/>
              <a:gd name="connsiteX5" fmla="*/ 10146490 w 12192000"/>
              <a:gd name="connsiteY5" fmla="*/ 268201 h 6858000"/>
              <a:gd name="connsiteX6" fmla="*/ 10142680 w 12192000"/>
              <a:gd name="connsiteY6" fmla="*/ 1025401 h 6858000"/>
              <a:gd name="connsiteX7" fmla="*/ 11904664 w 12192000"/>
              <a:gd name="connsiteY7" fmla="*/ 1025401 h 6858000"/>
              <a:gd name="connsiteX8" fmla="*/ 11904664 w 12192000"/>
              <a:gd name="connsiteY8" fmla="*/ 268201 h 6858000"/>
              <a:gd name="connsiteX9" fmla="*/ 10146490 w 12192000"/>
              <a:gd name="connsiteY9" fmla="*/ 26820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282702 w 12192000"/>
              <a:gd name="connsiteY0" fmla="*/ 252962 h 6858000"/>
              <a:gd name="connsiteX1" fmla="*/ 288798 w 12192000"/>
              <a:gd name="connsiteY1" fmla="*/ 6603458 h 6858000"/>
              <a:gd name="connsiteX2" fmla="*/ 5401950 w 12192000"/>
              <a:gd name="connsiteY2" fmla="*/ 6536402 h 6858000"/>
              <a:gd name="connsiteX3" fmla="*/ 5334894 w 12192000"/>
              <a:gd name="connsiteY3" fmla="*/ 259058 h 6858000"/>
              <a:gd name="connsiteX4" fmla="*/ 282702 w 12192000"/>
              <a:gd name="connsiteY4" fmla="*/ 252962 h 6858000"/>
              <a:gd name="connsiteX5" fmla="*/ 10146490 w 12192000"/>
              <a:gd name="connsiteY5" fmla="*/ 268201 h 6858000"/>
              <a:gd name="connsiteX6" fmla="*/ 10142680 w 12192000"/>
              <a:gd name="connsiteY6" fmla="*/ 1025401 h 6858000"/>
              <a:gd name="connsiteX7" fmla="*/ 11904664 w 12192000"/>
              <a:gd name="connsiteY7" fmla="*/ 1025401 h 6858000"/>
              <a:gd name="connsiteX8" fmla="*/ 11904664 w 12192000"/>
              <a:gd name="connsiteY8" fmla="*/ 268201 h 6858000"/>
              <a:gd name="connsiteX9" fmla="*/ 10146490 w 12192000"/>
              <a:gd name="connsiteY9" fmla="*/ 26820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282702 w 12192000"/>
              <a:gd name="connsiteY0" fmla="*/ 252962 h 6858000"/>
              <a:gd name="connsiteX1" fmla="*/ 288798 w 12192000"/>
              <a:gd name="connsiteY1" fmla="*/ 6603458 h 6858000"/>
              <a:gd name="connsiteX2" fmla="*/ 5328798 w 12192000"/>
              <a:gd name="connsiteY2" fmla="*/ 6597362 h 6858000"/>
              <a:gd name="connsiteX3" fmla="*/ 5334894 w 12192000"/>
              <a:gd name="connsiteY3" fmla="*/ 259058 h 6858000"/>
              <a:gd name="connsiteX4" fmla="*/ 282702 w 12192000"/>
              <a:gd name="connsiteY4" fmla="*/ 252962 h 6858000"/>
              <a:gd name="connsiteX5" fmla="*/ 10146490 w 12192000"/>
              <a:gd name="connsiteY5" fmla="*/ 268201 h 6858000"/>
              <a:gd name="connsiteX6" fmla="*/ 10142680 w 12192000"/>
              <a:gd name="connsiteY6" fmla="*/ 1025401 h 6858000"/>
              <a:gd name="connsiteX7" fmla="*/ 11904664 w 12192000"/>
              <a:gd name="connsiteY7" fmla="*/ 1025401 h 6858000"/>
              <a:gd name="connsiteX8" fmla="*/ 11904664 w 12192000"/>
              <a:gd name="connsiteY8" fmla="*/ 268201 h 6858000"/>
              <a:gd name="connsiteX9" fmla="*/ 10146490 w 12192000"/>
              <a:gd name="connsiteY9" fmla="*/ 26820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282702 w 12192000"/>
              <a:gd name="connsiteY0" fmla="*/ 252962 h 6858000"/>
              <a:gd name="connsiteX1" fmla="*/ 288798 w 12192000"/>
              <a:gd name="connsiteY1" fmla="*/ 6597362 h 6858000"/>
              <a:gd name="connsiteX2" fmla="*/ 5328798 w 12192000"/>
              <a:gd name="connsiteY2" fmla="*/ 6597362 h 6858000"/>
              <a:gd name="connsiteX3" fmla="*/ 5334894 w 12192000"/>
              <a:gd name="connsiteY3" fmla="*/ 259058 h 6858000"/>
              <a:gd name="connsiteX4" fmla="*/ 282702 w 12192000"/>
              <a:gd name="connsiteY4" fmla="*/ 252962 h 6858000"/>
              <a:gd name="connsiteX5" fmla="*/ 10146490 w 12192000"/>
              <a:gd name="connsiteY5" fmla="*/ 268201 h 6858000"/>
              <a:gd name="connsiteX6" fmla="*/ 10142680 w 12192000"/>
              <a:gd name="connsiteY6" fmla="*/ 1025401 h 6858000"/>
              <a:gd name="connsiteX7" fmla="*/ 11904664 w 12192000"/>
              <a:gd name="connsiteY7" fmla="*/ 1025401 h 6858000"/>
              <a:gd name="connsiteX8" fmla="*/ 11904664 w 12192000"/>
              <a:gd name="connsiteY8" fmla="*/ 268201 h 6858000"/>
              <a:gd name="connsiteX9" fmla="*/ 10146490 w 12192000"/>
              <a:gd name="connsiteY9" fmla="*/ 26820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0">
                <a:moveTo>
                  <a:pt x="282702" y="252962"/>
                </a:moveTo>
                <a:lnTo>
                  <a:pt x="288798" y="6597362"/>
                </a:lnTo>
                <a:lnTo>
                  <a:pt x="5328798" y="6597362"/>
                </a:lnTo>
                <a:lnTo>
                  <a:pt x="5334894" y="259058"/>
                </a:lnTo>
                <a:lnTo>
                  <a:pt x="282702" y="252962"/>
                </a:lnTo>
                <a:close/>
                <a:moveTo>
                  <a:pt x="10146490" y="268201"/>
                </a:moveTo>
                <a:lnTo>
                  <a:pt x="10142680" y="1025401"/>
                </a:lnTo>
                <a:lnTo>
                  <a:pt x="11904664" y="1025401"/>
                </a:lnTo>
                <a:lnTo>
                  <a:pt x="11904664" y="268201"/>
                </a:lnTo>
                <a:lnTo>
                  <a:pt x="10146490" y="26820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CF86407-DA27-4CA6-A346-F8477F884E96}"/>
              </a:ext>
            </a:extLst>
          </p:cNvPr>
          <p:cNvSpPr>
            <a:spLocks/>
          </p:cNvSpPr>
          <p:nvPr userDrawn="1"/>
        </p:nvSpPr>
        <p:spPr>
          <a:xfrm>
            <a:off x="-1939923" y="2913099"/>
            <a:ext cx="1772284" cy="1031803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0" dirty="0">
                <a:solidFill>
                  <a:schemeClr val="tx1"/>
                </a:solidFill>
              </a:rPr>
              <a:t>Please do not print slides with full-surface colors or motifs </a:t>
            </a:r>
          </a:p>
        </p:txBody>
      </p:sp>
      <p:sp>
        <p:nvSpPr>
          <p:cNvPr id="23" name="Subline">
            <a:extLst>
              <a:ext uri="{FF2B5EF4-FFF2-40B4-BE49-F238E27FC236}">
                <a16:creationId xmlns:a16="http://schemas.microsoft.com/office/drawing/2014/main" id="{F64F20BE-9490-4534-8D22-D527DF582B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4904" y="5510860"/>
            <a:ext cx="5040313" cy="360000"/>
          </a:xfrm>
          <a:prstGeom prst="rect">
            <a:avLst/>
          </a:prstGeom>
        </p:spPr>
        <p:txBody>
          <a:bodyPr lIns="288000" rIns="288000" anchor="b" anchorCtr="0">
            <a:noAutofit/>
          </a:bodyPr>
          <a:lstStyle>
            <a:lvl1pPr marL="0" indent="0">
              <a:buNone/>
              <a:defRPr sz="1600" b="1" cap="none" baseline="0">
                <a:latin typeface="+mj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DCF84473-59A5-4A28-B312-2557D7CFAF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4904" y="5886100"/>
            <a:ext cx="5040313" cy="189474"/>
          </a:xfrm>
          <a:prstGeom prst="rect">
            <a:avLst/>
          </a:prstGeom>
        </p:spPr>
        <p:txBody>
          <a:bodyPr lIns="288000" tIns="36000">
            <a:noAutofit/>
          </a:bodyPr>
          <a:lstStyle>
            <a:lvl1pPr marL="0" indent="0">
              <a:buNone/>
              <a:defRPr sz="1600" cap="none" baseline="0"/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57D522EB-93F7-49B3-9164-076263457E7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04" y="6091840"/>
            <a:ext cx="5040313" cy="189474"/>
          </a:xfrm>
          <a:prstGeom prst="rect">
            <a:avLst/>
          </a:prstGeom>
        </p:spPr>
        <p:txBody>
          <a:bodyPr lIns="288000" tIns="36000">
            <a:noAutofit/>
          </a:bodyPr>
          <a:lstStyle>
            <a:lvl1pPr marL="0" indent="0">
              <a:buNone/>
              <a:defRPr sz="1600" cap="none" baseline="0"/>
            </a:lvl1pPr>
          </a:lstStyle>
          <a:p>
            <a:pPr lvl="0"/>
            <a:r>
              <a:rPr lang="de-DE" dirty="0"/>
              <a:t>Datum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284904" y="258750"/>
            <a:ext cx="5040313" cy="5040000"/>
          </a:xfrm>
        </p:spPr>
        <p:txBody>
          <a:bodyPr lIns="288000" tIns="288000" rIns="288000" bIns="288000"/>
          <a:lstStyle>
            <a:lvl1pPr>
              <a:spcAft>
                <a:spcPts val="0"/>
              </a:spcAft>
              <a:defRPr sz="3200">
                <a:latin typeface="STIHL Contraface Display Title" pitchFamily="50" charset="0"/>
              </a:defRPr>
            </a:lvl1pPr>
            <a:lvl2pPr>
              <a:spcAft>
                <a:spcPts val="0"/>
              </a:spcAft>
              <a:defRPr>
                <a:latin typeface="STIHL Contraface Display Title" pitchFamily="50" charset="0"/>
              </a:defRPr>
            </a:lvl2pPr>
            <a:lvl3pPr>
              <a:spcAft>
                <a:spcPts val="0"/>
              </a:spcAft>
              <a:defRPr>
                <a:latin typeface="STIHL Contraface Display Title" pitchFamily="50" charset="0"/>
              </a:defRPr>
            </a:lvl3pPr>
            <a:lvl4pPr>
              <a:spcAft>
                <a:spcPts val="0"/>
              </a:spcAft>
              <a:defRPr>
                <a:latin typeface="STIHL Contraface Display Title" pitchFamily="50" charset="0"/>
              </a:defRPr>
            </a:lvl4pPr>
            <a:lvl5pPr>
              <a:spcAft>
                <a:spcPts val="0"/>
              </a:spcAft>
              <a:defRPr>
                <a:latin typeface="STIHL Contraface Display Title" pitchFamily="50" charset="0"/>
              </a:defRPr>
            </a:lvl5pPr>
          </a:lstStyle>
          <a:p>
            <a:pPr lvl="0"/>
            <a:r>
              <a:rPr lang="de-DE" dirty="0"/>
              <a:t>Mastertitel-format bearbeiten</a:t>
            </a:r>
            <a:br>
              <a:rPr lang="de-DE" dirty="0"/>
            </a:br>
            <a:r>
              <a:rPr lang="de-DE" dirty="0"/>
              <a:t>ƒ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CF86407-DA27-4CA6-A346-F8477F884E96}"/>
              </a:ext>
            </a:extLst>
          </p:cNvPr>
          <p:cNvSpPr>
            <a:spLocks/>
          </p:cNvSpPr>
          <p:nvPr userDrawn="1"/>
        </p:nvSpPr>
        <p:spPr>
          <a:xfrm>
            <a:off x="-1943099" y="4254839"/>
            <a:ext cx="1772284" cy="16966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72000" bIns="7200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1600" b="0" dirty="0">
                <a:solidFill>
                  <a:schemeClr val="tx1"/>
                </a:solidFill>
              </a:rPr>
              <a:t>Insert the underline after the headline using the numeric keypad and the key combination "Alt + 0131“</a:t>
            </a:r>
          </a:p>
        </p:txBody>
      </p:sp>
    </p:spTree>
    <p:extLst>
      <p:ext uri="{BB962C8B-B14F-4D97-AF65-F5344CB8AC3E}">
        <p14:creationId xmlns:p14="http://schemas.microsoft.com/office/powerpoint/2010/main" val="32604017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0" imgH="371" progId="TCLayout.ActiveDocument.1">
                  <p:embed/>
                </p:oleObj>
              </mc:Choice>
              <mc:Fallback>
                <p:oleObj name="think-cell Folie" r:id="rId3" imgW="370" imgH="37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16762DA5-7BF5-44ED-A0E7-1C1B1049A63C}"/>
              </a:ext>
            </a:extLst>
          </p:cNvPr>
          <p:cNvSpPr/>
          <p:nvPr userDrawn="1"/>
        </p:nvSpPr>
        <p:spPr>
          <a:xfrm>
            <a:off x="495191" y="6283982"/>
            <a:ext cx="450741" cy="94593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684D222-F168-4BDD-AE60-92B32E6365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4834859"/>
            <a:ext cx="7812088" cy="133607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lvl1pPr marL="0" indent="0">
              <a:lnSpc>
                <a:spcPct val="90000"/>
              </a:lnSpc>
              <a:buNone/>
              <a:defRPr lang="de-DE" sz="4800" b="1" cap="all" baseline="0" smtClean="0">
                <a:latin typeface="STIHL Contraface Display Title" panose="02000600040000020004" pitchFamily="50" charset="0"/>
              </a:defRPr>
            </a:lvl1pPr>
            <a:lvl2pPr marL="277812" indent="0">
              <a:buNone/>
              <a:defRPr lang="de-DE" smtClean="0"/>
            </a:lvl2pPr>
            <a:lvl3pPr marL="739775" indent="0">
              <a:buNone/>
              <a:defRPr lang="de-DE" sz="1800" smtClean="0"/>
            </a:lvl3pPr>
            <a:lvl4pPr marL="1190625" indent="0">
              <a:buNone/>
              <a:defRPr lang="de-DE" sz="1800" smtClean="0"/>
            </a:lvl4pPr>
            <a:lvl5pPr marL="1647825" indent="0">
              <a:buNone/>
              <a:defRPr lang="de-DE" sz="1800"/>
            </a:lvl5pPr>
          </a:lstStyle>
          <a:p>
            <a:pPr marL="0" lvl="0"/>
            <a:r>
              <a:rPr lang="de-DE" dirty="0"/>
              <a:t>Schlussfolie bearbeiten</a:t>
            </a: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0262" y="502821"/>
            <a:ext cx="1385810" cy="287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4791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ohne Hintergrund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0" imgH="371" progId="TCLayout.ActiveDocument.1">
                  <p:embed/>
                </p:oleObj>
              </mc:Choice>
              <mc:Fallback>
                <p:oleObj name="think-cell Folie" r:id="rId3" imgW="370" imgH="37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684D222-F168-4BDD-AE60-92B32E6365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4834859"/>
            <a:ext cx="7812088" cy="133607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lvl1pPr marL="0" indent="0">
              <a:buNone/>
              <a:tabLst>
                <a:tab pos="1074738" algn="l"/>
              </a:tabLst>
              <a:defRPr lang="de-DE" sz="4800" b="1" cap="all" baseline="0" smtClean="0">
                <a:latin typeface="STIHL Contraface Display Title" panose="02000600040000020004" pitchFamily="50" charset="0"/>
              </a:defRPr>
            </a:lvl1pPr>
            <a:lvl2pPr marL="277812" indent="0">
              <a:buNone/>
              <a:defRPr lang="de-DE" smtClean="0"/>
            </a:lvl2pPr>
            <a:lvl3pPr marL="739775" indent="0">
              <a:buNone/>
              <a:defRPr lang="de-DE" sz="1800" smtClean="0"/>
            </a:lvl3pPr>
            <a:lvl4pPr marL="1190625" indent="0">
              <a:buNone/>
              <a:defRPr lang="de-DE" sz="1800" smtClean="0"/>
            </a:lvl4pPr>
            <a:lvl5pPr marL="1647825" indent="0">
              <a:buNone/>
              <a:defRPr lang="de-DE" sz="1800"/>
            </a:lvl5pPr>
          </a:lstStyle>
          <a:p>
            <a:pPr marL="0" lvl="0"/>
            <a:r>
              <a:rPr lang="de-DE" dirty="0" err="1"/>
              <a:t>Kapiteltrenner</a:t>
            </a:r>
            <a:r>
              <a:rPr lang="de-DE" dirty="0"/>
              <a:t> bearbeiten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228CAB1-2EA1-4F8A-B1D7-C5BA22E44783}"/>
              </a:ext>
            </a:extLst>
          </p:cNvPr>
          <p:cNvSpPr/>
          <p:nvPr userDrawn="1"/>
        </p:nvSpPr>
        <p:spPr>
          <a:xfrm>
            <a:off x="495191" y="6283982"/>
            <a:ext cx="450741" cy="94593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0262" y="502821"/>
            <a:ext cx="1385810" cy="287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2068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mit Hintergrund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0" imgH="371" progId="TCLayout.ActiveDocument.1">
                  <p:embed/>
                </p:oleObj>
              </mc:Choice>
              <mc:Fallback>
                <p:oleObj name="think-cell Folie" r:id="rId3" imgW="370" imgH="37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14">
            <a:extLst>
              <a:ext uri="{FF2B5EF4-FFF2-40B4-BE49-F238E27FC236}">
                <a16:creationId xmlns:a16="http://schemas.microsoft.com/office/drawing/2014/main" id="{12A2E7EC-D35A-4A4A-BBD2-6097A2AF781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10129345 w 12192000"/>
              <a:gd name="connsiteY4" fmla="*/ 344401 h 6858000"/>
              <a:gd name="connsiteX5" fmla="*/ 10129345 w 12192000"/>
              <a:gd name="connsiteY5" fmla="*/ 1099696 h 6858000"/>
              <a:gd name="connsiteX6" fmla="*/ 11857039 w 12192000"/>
              <a:gd name="connsiteY6" fmla="*/ 1099696 h 6858000"/>
              <a:gd name="connsiteX7" fmla="*/ 11857039 w 12192000"/>
              <a:gd name="connsiteY7" fmla="*/ 344401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29345 w 12192000"/>
              <a:gd name="connsiteY6" fmla="*/ 1099696 h 6858000"/>
              <a:gd name="connsiteX7" fmla="*/ 11857039 w 12192000"/>
              <a:gd name="connsiteY7" fmla="*/ 1099696 h 6858000"/>
              <a:gd name="connsiteX8" fmla="*/ 11857039 w 12192000"/>
              <a:gd name="connsiteY8" fmla="*/ 34440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29345 w 12192000"/>
              <a:gd name="connsiteY6" fmla="*/ 1099696 h 6858000"/>
              <a:gd name="connsiteX7" fmla="*/ 11857039 w 12192000"/>
              <a:gd name="connsiteY7" fmla="*/ 109969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29345 w 12192000"/>
              <a:gd name="connsiteY6" fmla="*/ 1099696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31885 w 12192000"/>
              <a:gd name="connsiteY6" fmla="*/ 1033656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642366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5401950 w 12192000"/>
              <a:gd name="connsiteY2" fmla="*/ 6534807 h 6858000"/>
              <a:gd name="connsiteX3" fmla="*/ 1378590 w 12192000"/>
              <a:gd name="connsiteY3" fmla="*/ 6122172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1195710 w 12192000"/>
              <a:gd name="connsiteY2" fmla="*/ 6565287 h 6858000"/>
              <a:gd name="connsiteX3" fmla="*/ 1378590 w 12192000"/>
              <a:gd name="connsiteY3" fmla="*/ 6122172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1195710 w 12192000"/>
              <a:gd name="connsiteY2" fmla="*/ 6565287 h 6858000"/>
              <a:gd name="connsiteX3" fmla="*/ 1378590 w 12192000"/>
              <a:gd name="connsiteY3" fmla="*/ 6122172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1102365 w 12192000"/>
              <a:gd name="connsiteY2" fmla="*/ 6536712 h 6858000"/>
              <a:gd name="connsiteX3" fmla="*/ 1378590 w 12192000"/>
              <a:gd name="connsiteY3" fmla="*/ 6122172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1102365 w 12192000"/>
              <a:gd name="connsiteY2" fmla="*/ 6536712 h 6858000"/>
              <a:gd name="connsiteX3" fmla="*/ 1106175 w 12192000"/>
              <a:gd name="connsiteY3" fmla="*/ 6434592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1106175 w 12192000"/>
              <a:gd name="connsiteY2" fmla="*/ 6538617 h 6858000"/>
              <a:gd name="connsiteX3" fmla="*/ 1106175 w 12192000"/>
              <a:gd name="connsiteY3" fmla="*/ 6434592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6176 w 12192000"/>
              <a:gd name="connsiteY0" fmla="*/ 6430782 h 6858000"/>
              <a:gd name="connsiteX1" fmla="*/ 642366 w 12192000"/>
              <a:gd name="connsiteY1" fmla="*/ 6534807 h 6858000"/>
              <a:gd name="connsiteX2" fmla="*/ 1106175 w 12192000"/>
              <a:gd name="connsiteY2" fmla="*/ 6538617 h 6858000"/>
              <a:gd name="connsiteX3" fmla="*/ 1106175 w 12192000"/>
              <a:gd name="connsiteY3" fmla="*/ 6434592 h 6858000"/>
              <a:gd name="connsiteX4" fmla="*/ 646176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6176 w 12192000"/>
              <a:gd name="connsiteY0" fmla="*/ 6430782 h 6858000"/>
              <a:gd name="connsiteX1" fmla="*/ 642366 w 12192000"/>
              <a:gd name="connsiteY1" fmla="*/ 6534807 h 6858000"/>
              <a:gd name="connsiteX2" fmla="*/ 1106175 w 12192000"/>
              <a:gd name="connsiteY2" fmla="*/ 6538617 h 6858000"/>
              <a:gd name="connsiteX3" fmla="*/ 1106175 w 12192000"/>
              <a:gd name="connsiteY3" fmla="*/ 6432687 h 6858000"/>
              <a:gd name="connsiteX4" fmla="*/ 646176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6176 w 12192000"/>
              <a:gd name="connsiteY0" fmla="*/ 6430782 h 6858000"/>
              <a:gd name="connsiteX1" fmla="*/ 642366 w 12192000"/>
              <a:gd name="connsiteY1" fmla="*/ 6534807 h 6858000"/>
              <a:gd name="connsiteX2" fmla="*/ 1106175 w 12192000"/>
              <a:gd name="connsiteY2" fmla="*/ 6538617 h 6858000"/>
              <a:gd name="connsiteX3" fmla="*/ 1106175 w 12192000"/>
              <a:gd name="connsiteY3" fmla="*/ 6428877 h 6858000"/>
              <a:gd name="connsiteX4" fmla="*/ 646176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6176 w 12192000"/>
              <a:gd name="connsiteY0" fmla="*/ 6430782 h 6858000"/>
              <a:gd name="connsiteX1" fmla="*/ 642366 w 12192000"/>
              <a:gd name="connsiteY1" fmla="*/ 6534807 h 6858000"/>
              <a:gd name="connsiteX2" fmla="*/ 1106175 w 12192000"/>
              <a:gd name="connsiteY2" fmla="*/ 6538617 h 6858000"/>
              <a:gd name="connsiteX3" fmla="*/ 1106175 w 12192000"/>
              <a:gd name="connsiteY3" fmla="*/ 6430782 h 6858000"/>
              <a:gd name="connsiteX4" fmla="*/ 646176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6176 w 12192000"/>
              <a:gd name="connsiteY0" fmla="*/ 6430782 h 6858000"/>
              <a:gd name="connsiteX1" fmla="*/ 642366 w 12192000"/>
              <a:gd name="connsiteY1" fmla="*/ 6534807 h 6858000"/>
              <a:gd name="connsiteX2" fmla="*/ 1106175 w 12192000"/>
              <a:gd name="connsiteY2" fmla="*/ 6536712 h 6858000"/>
              <a:gd name="connsiteX3" fmla="*/ 1106175 w 12192000"/>
              <a:gd name="connsiteY3" fmla="*/ 6430782 h 6858000"/>
              <a:gd name="connsiteX4" fmla="*/ 646176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6176 w 12192000"/>
              <a:gd name="connsiteY0" fmla="*/ 6430782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1106175 w 12192000"/>
              <a:gd name="connsiteY3" fmla="*/ 6430782 h 6858000"/>
              <a:gd name="connsiteX4" fmla="*/ 646176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4271 w 12192000"/>
              <a:gd name="connsiteY0" fmla="*/ 6430782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1106175 w 12192000"/>
              <a:gd name="connsiteY3" fmla="*/ 6430782 h 6858000"/>
              <a:gd name="connsiteX4" fmla="*/ 644271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4271 w 12192000"/>
              <a:gd name="connsiteY0" fmla="*/ 6430782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1106175 w 12192000"/>
              <a:gd name="connsiteY3" fmla="*/ 6430782 h 6858000"/>
              <a:gd name="connsiteX4" fmla="*/ 644271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1106175 w 12192000"/>
              <a:gd name="connsiteY3" fmla="*/ 6430782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951870 w 12192000"/>
              <a:gd name="connsiteY3" fmla="*/ 6278382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951870 w 12192000"/>
              <a:gd name="connsiteY3" fmla="*/ 6278382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644271 w 12192000"/>
              <a:gd name="connsiteY1" fmla="*/ 6534807 h 6858000"/>
              <a:gd name="connsiteX2" fmla="*/ 953775 w 12192000"/>
              <a:gd name="connsiteY2" fmla="*/ 6384312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3775 w 12192000"/>
              <a:gd name="connsiteY2" fmla="*/ 6384312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3775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4029 w 12192000"/>
              <a:gd name="connsiteY8" fmla="*/ 271376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751629 w 12192000"/>
              <a:gd name="connsiteY8" fmla="*/ 419966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2124 w 12192000"/>
              <a:gd name="connsiteY8" fmla="*/ 267566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209355 w 12192000"/>
              <a:gd name="connsiteY5" fmla="*/ 31900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2124 w 12192000"/>
              <a:gd name="connsiteY8" fmla="*/ 267566 h 6858000"/>
              <a:gd name="connsiteX9" fmla="*/ 10209355 w 12192000"/>
              <a:gd name="connsiteY9" fmla="*/ 31900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215705 w 12192000"/>
              <a:gd name="connsiteY6" fmla="*/ 982221 h 6858000"/>
              <a:gd name="connsiteX7" fmla="*/ 11907839 w 12192000"/>
              <a:gd name="connsiteY7" fmla="*/ 103111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5220 w 12192000"/>
              <a:gd name="connsiteY6" fmla="*/ 1027941 h 6858000"/>
              <a:gd name="connsiteX7" fmla="*/ 11907839 w 12192000"/>
              <a:gd name="connsiteY7" fmla="*/ 103111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5220 w 12192000"/>
              <a:gd name="connsiteY6" fmla="*/ 1027941 h 6858000"/>
              <a:gd name="connsiteX7" fmla="*/ 11803064 w 12192000"/>
              <a:gd name="connsiteY7" fmla="*/ 95491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5220 w 12192000"/>
              <a:gd name="connsiteY6" fmla="*/ 1027941 h 6858000"/>
              <a:gd name="connsiteX7" fmla="*/ 11904029 w 12192000"/>
              <a:gd name="connsiteY7" fmla="*/ 102730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5220 w 12192000"/>
              <a:gd name="connsiteY6" fmla="*/ 1027941 h 6858000"/>
              <a:gd name="connsiteX7" fmla="*/ 11673524 w 12192000"/>
              <a:gd name="connsiteY7" fmla="*/ 907291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5220 w 12192000"/>
              <a:gd name="connsiteY6" fmla="*/ 1027941 h 6858000"/>
              <a:gd name="connsiteX7" fmla="*/ 11902124 w 12192000"/>
              <a:gd name="connsiteY7" fmla="*/ 102730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474785 w 12192000"/>
              <a:gd name="connsiteY6" fmla="*/ 904116 h 6858000"/>
              <a:gd name="connsiteX7" fmla="*/ 11902124 w 12192000"/>
              <a:gd name="connsiteY7" fmla="*/ 102730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5220 w 12192000"/>
              <a:gd name="connsiteY6" fmla="*/ 1026036 h 6858000"/>
              <a:gd name="connsiteX7" fmla="*/ 11902124 w 12192000"/>
              <a:gd name="connsiteY7" fmla="*/ 102730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5220 w 12192000"/>
              <a:gd name="connsiteY6" fmla="*/ 1026036 h 6858000"/>
              <a:gd name="connsiteX7" fmla="*/ 11902124 w 12192000"/>
              <a:gd name="connsiteY7" fmla="*/ 102730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510345 w 12192000"/>
              <a:gd name="connsiteY5" fmla="*/ 581891 h 6858000"/>
              <a:gd name="connsiteX6" fmla="*/ 10145220 w 12192000"/>
              <a:gd name="connsiteY6" fmla="*/ 1026036 h 6858000"/>
              <a:gd name="connsiteX7" fmla="*/ 11902124 w 12192000"/>
              <a:gd name="connsiteY7" fmla="*/ 1027306 h 6858000"/>
              <a:gd name="connsiteX8" fmla="*/ 11902124 w 12192000"/>
              <a:gd name="connsiteY8" fmla="*/ 267566 h 6858000"/>
              <a:gd name="connsiteX9" fmla="*/ 10510345 w 12192000"/>
              <a:gd name="connsiteY9" fmla="*/ 58189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5661 h 6858000"/>
              <a:gd name="connsiteX6" fmla="*/ 10145220 w 12192000"/>
              <a:gd name="connsiteY6" fmla="*/ 1026036 h 6858000"/>
              <a:gd name="connsiteX7" fmla="*/ 11902124 w 12192000"/>
              <a:gd name="connsiteY7" fmla="*/ 1027306 h 6858000"/>
              <a:gd name="connsiteX8" fmla="*/ 11902124 w 12192000"/>
              <a:gd name="connsiteY8" fmla="*/ 267566 h 6858000"/>
              <a:gd name="connsiteX9" fmla="*/ 10144585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226500 w 12192000"/>
              <a:gd name="connsiteY5" fmla="*/ 339956 h 6858000"/>
              <a:gd name="connsiteX6" fmla="*/ 10145220 w 12192000"/>
              <a:gd name="connsiteY6" fmla="*/ 1026036 h 6858000"/>
              <a:gd name="connsiteX7" fmla="*/ 11902124 w 12192000"/>
              <a:gd name="connsiteY7" fmla="*/ 1027306 h 6858000"/>
              <a:gd name="connsiteX8" fmla="*/ 11902124 w 12192000"/>
              <a:gd name="connsiteY8" fmla="*/ 267566 h 6858000"/>
              <a:gd name="connsiteX9" fmla="*/ 10226500 w 12192000"/>
              <a:gd name="connsiteY9" fmla="*/ 33995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7566 h 6858000"/>
              <a:gd name="connsiteX6" fmla="*/ 10145220 w 12192000"/>
              <a:gd name="connsiteY6" fmla="*/ 1026036 h 6858000"/>
              <a:gd name="connsiteX7" fmla="*/ 11902124 w 12192000"/>
              <a:gd name="connsiteY7" fmla="*/ 1027306 h 6858000"/>
              <a:gd name="connsiteX8" fmla="*/ 11902124 w 12192000"/>
              <a:gd name="connsiteY8" fmla="*/ 267566 h 6858000"/>
              <a:gd name="connsiteX9" fmla="*/ 10146490 w 12192000"/>
              <a:gd name="connsiteY9" fmla="*/ 26756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0">
                <a:moveTo>
                  <a:pt x="489966" y="6280287"/>
                </a:moveTo>
                <a:lnTo>
                  <a:pt x="488061" y="6386217"/>
                </a:lnTo>
                <a:lnTo>
                  <a:pt x="951870" y="6386217"/>
                </a:lnTo>
                <a:lnTo>
                  <a:pt x="951870" y="6280287"/>
                </a:lnTo>
                <a:lnTo>
                  <a:pt x="489966" y="6280287"/>
                </a:lnTo>
                <a:close/>
                <a:moveTo>
                  <a:pt x="10146490" y="267566"/>
                </a:moveTo>
                <a:cubicBezTo>
                  <a:pt x="10144797" y="526104"/>
                  <a:pt x="10146913" y="767498"/>
                  <a:pt x="10145220" y="1026036"/>
                </a:cubicBezTo>
                <a:lnTo>
                  <a:pt x="11902124" y="1027306"/>
                </a:lnTo>
                <a:lnTo>
                  <a:pt x="11902124" y="267566"/>
                </a:lnTo>
                <a:lnTo>
                  <a:pt x="10146490" y="26756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B2BCC63D-764D-453B-B95D-B53E771DF12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4834859"/>
            <a:ext cx="7812088" cy="133607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lvl1pPr marL="0" indent="0">
              <a:buNone/>
              <a:tabLst>
                <a:tab pos="1074738" algn="l"/>
              </a:tabLst>
              <a:defRPr lang="de-DE" sz="4800" b="1" cap="all" baseline="0" smtClean="0">
                <a:solidFill>
                  <a:schemeClr val="bg1"/>
                </a:solidFill>
                <a:latin typeface="STIHL Contraface Display Title" panose="02000600040000020004" pitchFamily="50" charset="0"/>
              </a:defRPr>
            </a:lvl1pPr>
            <a:lvl2pPr marL="277812" indent="0">
              <a:buNone/>
              <a:defRPr lang="de-DE" smtClean="0"/>
            </a:lvl2pPr>
            <a:lvl3pPr marL="739775" indent="0">
              <a:buNone/>
              <a:defRPr lang="de-DE" sz="1800" smtClean="0"/>
            </a:lvl3pPr>
            <a:lvl4pPr marL="1190625" indent="0">
              <a:buNone/>
              <a:defRPr lang="de-DE" sz="1800" smtClean="0"/>
            </a:lvl4pPr>
            <a:lvl5pPr marL="1647825" indent="0">
              <a:buNone/>
              <a:defRPr lang="de-DE" sz="1800"/>
            </a:lvl5pPr>
          </a:lstStyle>
          <a:p>
            <a:pPr marL="0" lvl="0"/>
            <a:r>
              <a:rPr lang="de-DE" dirty="0" err="1"/>
              <a:t>Kapiteltrenner</a:t>
            </a:r>
            <a:r>
              <a:rPr lang="de-DE" dirty="0"/>
              <a:t> bearbeiten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C6085ED-8EF3-4C74-9B9D-7804FC5FAEA1}"/>
              </a:ext>
            </a:extLst>
          </p:cNvPr>
          <p:cNvSpPr/>
          <p:nvPr userDrawn="1"/>
        </p:nvSpPr>
        <p:spPr>
          <a:xfrm>
            <a:off x="495191" y="6283982"/>
            <a:ext cx="450741" cy="945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CF86407-DA27-4CA6-A346-F8477F884E96}"/>
              </a:ext>
            </a:extLst>
          </p:cNvPr>
          <p:cNvSpPr>
            <a:spLocks/>
          </p:cNvSpPr>
          <p:nvPr userDrawn="1"/>
        </p:nvSpPr>
        <p:spPr>
          <a:xfrm>
            <a:off x="-1939923" y="2913099"/>
            <a:ext cx="1772284" cy="1031803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0" dirty="0">
                <a:solidFill>
                  <a:schemeClr val="tx1"/>
                </a:solidFill>
              </a:rPr>
              <a:t>Please do not print slides with full-surface colors or motifs 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6061" y="258750"/>
            <a:ext cx="1774212" cy="775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8280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Hintergrund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70" imgH="371" progId="TCLayout.ActiveDocument.1">
                  <p:embed/>
                </p:oleObj>
              </mc:Choice>
              <mc:Fallback>
                <p:oleObj name="think-cell Folie" r:id="rId3" imgW="370" imgH="37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Bildplatzhalter 14">
            <a:extLst>
              <a:ext uri="{FF2B5EF4-FFF2-40B4-BE49-F238E27FC236}">
                <a16:creationId xmlns:a16="http://schemas.microsoft.com/office/drawing/2014/main" id="{12A2E7EC-D35A-4A4A-BBD2-6097A2AF781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10129345 w 12192000"/>
              <a:gd name="connsiteY4" fmla="*/ 344401 h 6858000"/>
              <a:gd name="connsiteX5" fmla="*/ 10129345 w 12192000"/>
              <a:gd name="connsiteY5" fmla="*/ 1099696 h 6858000"/>
              <a:gd name="connsiteX6" fmla="*/ 11857039 w 12192000"/>
              <a:gd name="connsiteY6" fmla="*/ 1099696 h 6858000"/>
              <a:gd name="connsiteX7" fmla="*/ 11857039 w 12192000"/>
              <a:gd name="connsiteY7" fmla="*/ 344401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29345 w 12192000"/>
              <a:gd name="connsiteY6" fmla="*/ 1099696 h 6858000"/>
              <a:gd name="connsiteX7" fmla="*/ 11857039 w 12192000"/>
              <a:gd name="connsiteY7" fmla="*/ 1099696 h 6858000"/>
              <a:gd name="connsiteX8" fmla="*/ 11857039 w 12192000"/>
              <a:gd name="connsiteY8" fmla="*/ 34440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29345 w 12192000"/>
              <a:gd name="connsiteY6" fmla="*/ 1099696 h 6858000"/>
              <a:gd name="connsiteX7" fmla="*/ 11857039 w 12192000"/>
              <a:gd name="connsiteY7" fmla="*/ 109969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29345 w 12192000"/>
              <a:gd name="connsiteY6" fmla="*/ 1099696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31885 w 12192000"/>
              <a:gd name="connsiteY6" fmla="*/ 1033656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361950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2751084 h 6858000"/>
              <a:gd name="connsiteX1" fmla="*/ 642366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361950 w 12192000"/>
              <a:gd name="connsiteY4" fmla="*/ 2751084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5401950 w 12192000"/>
              <a:gd name="connsiteY2" fmla="*/ 6534807 h 6858000"/>
              <a:gd name="connsiteX3" fmla="*/ 5401950 w 12192000"/>
              <a:gd name="connsiteY3" fmla="*/ 2751084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5401950 w 12192000"/>
              <a:gd name="connsiteY2" fmla="*/ 6534807 h 6858000"/>
              <a:gd name="connsiteX3" fmla="*/ 1378590 w 12192000"/>
              <a:gd name="connsiteY3" fmla="*/ 6122172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1195710 w 12192000"/>
              <a:gd name="connsiteY2" fmla="*/ 6565287 h 6858000"/>
              <a:gd name="connsiteX3" fmla="*/ 1378590 w 12192000"/>
              <a:gd name="connsiteY3" fmla="*/ 6122172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1195710 w 12192000"/>
              <a:gd name="connsiteY2" fmla="*/ 6565287 h 6858000"/>
              <a:gd name="connsiteX3" fmla="*/ 1378590 w 12192000"/>
              <a:gd name="connsiteY3" fmla="*/ 6122172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1102365 w 12192000"/>
              <a:gd name="connsiteY2" fmla="*/ 6536712 h 6858000"/>
              <a:gd name="connsiteX3" fmla="*/ 1378590 w 12192000"/>
              <a:gd name="connsiteY3" fmla="*/ 6122172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1102365 w 12192000"/>
              <a:gd name="connsiteY2" fmla="*/ 6536712 h 6858000"/>
              <a:gd name="connsiteX3" fmla="*/ 1106175 w 12192000"/>
              <a:gd name="connsiteY3" fmla="*/ 6434592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2366 w 12192000"/>
              <a:gd name="connsiteY0" fmla="*/ 6426972 h 6858000"/>
              <a:gd name="connsiteX1" fmla="*/ 642366 w 12192000"/>
              <a:gd name="connsiteY1" fmla="*/ 6534807 h 6858000"/>
              <a:gd name="connsiteX2" fmla="*/ 1106175 w 12192000"/>
              <a:gd name="connsiteY2" fmla="*/ 6538617 h 6858000"/>
              <a:gd name="connsiteX3" fmla="*/ 1106175 w 12192000"/>
              <a:gd name="connsiteY3" fmla="*/ 6434592 h 6858000"/>
              <a:gd name="connsiteX4" fmla="*/ 642366 w 12192000"/>
              <a:gd name="connsiteY4" fmla="*/ 642697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6176 w 12192000"/>
              <a:gd name="connsiteY0" fmla="*/ 6430782 h 6858000"/>
              <a:gd name="connsiteX1" fmla="*/ 642366 w 12192000"/>
              <a:gd name="connsiteY1" fmla="*/ 6534807 h 6858000"/>
              <a:gd name="connsiteX2" fmla="*/ 1106175 w 12192000"/>
              <a:gd name="connsiteY2" fmla="*/ 6538617 h 6858000"/>
              <a:gd name="connsiteX3" fmla="*/ 1106175 w 12192000"/>
              <a:gd name="connsiteY3" fmla="*/ 6434592 h 6858000"/>
              <a:gd name="connsiteX4" fmla="*/ 646176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6176 w 12192000"/>
              <a:gd name="connsiteY0" fmla="*/ 6430782 h 6858000"/>
              <a:gd name="connsiteX1" fmla="*/ 642366 w 12192000"/>
              <a:gd name="connsiteY1" fmla="*/ 6534807 h 6858000"/>
              <a:gd name="connsiteX2" fmla="*/ 1106175 w 12192000"/>
              <a:gd name="connsiteY2" fmla="*/ 6538617 h 6858000"/>
              <a:gd name="connsiteX3" fmla="*/ 1106175 w 12192000"/>
              <a:gd name="connsiteY3" fmla="*/ 6432687 h 6858000"/>
              <a:gd name="connsiteX4" fmla="*/ 646176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6176 w 12192000"/>
              <a:gd name="connsiteY0" fmla="*/ 6430782 h 6858000"/>
              <a:gd name="connsiteX1" fmla="*/ 642366 w 12192000"/>
              <a:gd name="connsiteY1" fmla="*/ 6534807 h 6858000"/>
              <a:gd name="connsiteX2" fmla="*/ 1106175 w 12192000"/>
              <a:gd name="connsiteY2" fmla="*/ 6538617 h 6858000"/>
              <a:gd name="connsiteX3" fmla="*/ 1106175 w 12192000"/>
              <a:gd name="connsiteY3" fmla="*/ 6428877 h 6858000"/>
              <a:gd name="connsiteX4" fmla="*/ 646176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6176 w 12192000"/>
              <a:gd name="connsiteY0" fmla="*/ 6430782 h 6858000"/>
              <a:gd name="connsiteX1" fmla="*/ 642366 w 12192000"/>
              <a:gd name="connsiteY1" fmla="*/ 6534807 h 6858000"/>
              <a:gd name="connsiteX2" fmla="*/ 1106175 w 12192000"/>
              <a:gd name="connsiteY2" fmla="*/ 6538617 h 6858000"/>
              <a:gd name="connsiteX3" fmla="*/ 1106175 w 12192000"/>
              <a:gd name="connsiteY3" fmla="*/ 6430782 h 6858000"/>
              <a:gd name="connsiteX4" fmla="*/ 646176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6176 w 12192000"/>
              <a:gd name="connsiteY0" fmla="*/ 6430782 h 6858000"/>
              <a:gd name="connsiteX1" fmla="*/ 642366 w 12192000"/>
              <a:gd name="connsiteY1" fmla="*/ 6534807 h 6858000"/>
              <a:gd name="connsiteX2" fmla="*/ 1106175 w 12192000"/>
              <a:gd name="connsiteY2" fmla="*/ 6536712 h 6858000"/>
              <a:gd name="connsiteX3" fmla="*/ 1106175 w 12192000"/>
              <a:gd name="connsiteY3" fmla="*/ 6430782 h 6858000"/>
              <a:gd name="connsiteX4" fmla="*/ 646176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6176 w 12192000"/>
              <a:gd name="connsiteY0" fmla="*/ 6430782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1106175 w 12192000"/>
              <a:gd name="connsiteY3" fmla="*/ 6430782 h 6858000"/>
              <a:gd name="connsiteX4" fmla="*/ 646176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4271 w 12192000"/>
              <a:gd name="connsiteY0" fmla="*/ 6430782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1106175 w 12192000"/>
              <a:gd name="connsiteY3" fmla="*/ 6430782 h 6858000"/>
              <a:gd name="connsiteX4" fmla="*/ 644271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644271 w 12192000"/>
              <a:gd name="connsiteY0" fmla="*/ 6430782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1106175 w 12192000"/>
              <a:gd name="connsiteY3" fmla="*/ 6430782 h 6858000"/>
              <a:gd name="connsiteX4" fmla="*/ 644271 w 12192000"/>
              <a:gd name="connsiteY4" fmla="*/ 6430782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1106175 w 12192000"/>
              <a:gd name="connsiteY3" fmla="*/ 6430782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951870 w 12192000"/>
              <a:gd name="connsiteY3" fmla="*/ 6278382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951870 w 12192000"/>
              <a:gd name="connsiteY3" fmla="*/ 6278382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644271 w 12192000"/>
              <a:gd name="connsiteY1" fmla="*/ 6534807 h 6858000"/>
              <a:gd name="connsiteX2" fmla="*/ 1106175 w 12192000"/>
              <a:gd name="connsiteY2" fmla="*/ 6536712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644271 w 12192000"/>
              <a:gd name="connsiteY1" fmla="*/ 6534807 h 6858000"/>
              <a:gd name="connsiteX2" fmla="*/ 953775 w 12192000"/>
              <a:gd name="connsiteY2" fmla="*/ 6384312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3775 w 12192000"/>
              <a:gd name="connsiteY2" fmla="*/ 6384312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3775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7839 w 12192000"/>
              <a:gd name="connsiteY8" fmla="*/ 258041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4029 w 12192000"/>
              <a:gd name="connsiteY8" fmla="*/ 271376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751629 w 12192000"/>
              <a:gd name="connsiteY8" fmla="*/ 419966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36965 w 12192000"/>
              <a:gd name="connsiteY5" fmla="*/ 25804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2124 w 12192000"/>
              <a:gd name="connsiteY8" fmla="*/ 267566 h 6858000"/>
              <a:gd name="connsiteX9" fmla="*/ 10136965 w 12192000"/>
              <a:gd name="connsiteY9" fmla="*/ 25804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209355 w 12192000"/>
              <a:gd name="connsiteY5" fmla="*/ 31900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2124 w 12192000"/>
              <a:gd name="connsiteY8" fmla="*/ 267566 h 6858000"/>
              <a:gd name="connsiteX9" fmla="*/ 10209355 w 12192000"/>
              <a:gd name="connsiteY9" fmla="*/ 31900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35695 w 12192000"/>
              <a:gd name="connsiteY6" fmla="*/ 1031751 h 6858000"/>
              <a:gd name="connsiteX7" fmla="*/ 11907839 w 12192000"/>
              <a:gd name="connsiteY7" fmla="*/ 103111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215705 w 12192000"/>
              <a:gd name="connsiteY6" fmla="*/ 982221 h 6858000"/>
              <a:gd name="connsiteX7" fmla="*/ 11907839 w 12192000"/>
              <a:gd name="connsiteY7" fmla="*/ 103111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5220 w 12192000"/>
              <a:gd name="connsiteY6" fmla="*/ 1027941 h 6858000"/>
              <a:gd name="connsiteX7" fmla="*/ 11907839 w 12192000"/>
              <a:gd name="connsiteY7" fmla="*/ 103111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5220 w 12192000"/>
              <a:gd name="connsiteY6" fmla="*/ 1027941 h 6858000"/>
              <a:gd name="connsiteX7" fmla="*/ 11803064 w 12192000"/>
              <a:gd name="connsiteY7" fmla="*/ 95491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5220 w 12192000"/>
              <a:gd name="connsiteY6" fmla="*/ 1027941 h 6858000"/>
              <a:gd name="connsiteX7" fmla="*/ 11904029 w 12192000"/>
              <a:gd name="connsiteY7" fmla="*/ 1027306 h 6858000"/>
              <a:gd name="connsiteX8" fmla="*/ 11902124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316035 w 12192000"/>
              <a:gd name="connsiteY5" fmla="*/ 364721 h 6858000"/>
              <a:gd name="connsiteX6" fmla="*/ 10145220 w 12192000"/>
              <a:gd name="connsiteY6" fmla="*/ 1027941 h 6858000"/>
              <a:gd name="connsiteX7" fmla="*/ 11904029 w 12192000"/>
              <a:gd name="connsiteY7" fmla="*/ 1027306 h 6858000"/>
              <a:gd name="connsiteX8" fmla="*/ 11902124 w 12192000"/>
              <a:gd name="connsiteY8" fmla="*/ 267566 h 6858000"/>
              <a:gd name="connsiteX9" fmla="*/ 10316035 w 12192000"/>
              <a:gd name="connsiteY9" fmla="*/ 36472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5661 h 6858000"/>
              <a:gd name="connsiteX6" fmla="*/ 10145220 w 12192000"/>
              <a:gd name="connsiteY6" fmla="*/ 1027941 h 6858000"/>
              <a:gd name="connsiteX7" fmla="*/ 11904029 w 12192000"/>
              <a:gd name="connsiteY7" fmla="*/ 1027306 h 6858000"/>
              <a:gd name="connsiteX8" fmla="*/ 11902124 w 12192000"/>
              <a:gd name="connsiteY8" fmla="*/ 26756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5661 h 6858000"/>
              <a:gd name="connsiteX6" fmla="*/ 10145220 w 12192000"/>
              <a:gd name="connsiteY6" fmla="*/ 1027941 h 6858000"/>
              <a:gd name="connsiteX7" fmla="*/ 11904029 w 12192000"/>
              <a:gd name="connsiteY7" fmla="*/ 1027306 h 6858000"/>
              <a:gd name="connsiteX8" fmla="*/ 11829734 w 12192000"/>
              <a:gd name="connsiteY8" fmla="*/ 351386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5661 h 6858000"/>
              <a:gd name="connsiteX6" fmla="*/ 10145220 w 12192000"/>
              <a:gd name="connsiteY6" fmla="*/ 1027941 h 6858000"/>
              <a:gd name="connsiteX7" fmla="*/ 11904029 w 12192000"/>
              <a:gd name="connsiteY7" fmla="*/ 1027306 h 6858000"/>
              <a:gd name="connsiteX8" fmla="*/ 11904029 w 12192000"/>
              <a:gd name="connsiteY8" fmla="*/ 265661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5661 h 6858000"/>
              <a:gd name="connsiteX6" fmla="*/ 10145220 w 12192000"/>
              <a:gd name="connsiteY6" fmla="*/ 1027941 h 6858000"/>
              <a:gd name="connsiteX7" fmla="*/ 11623994 w 12192000"/>
              <a:gd name="connsiteY7" fmla="*/ 924436 h 6858000"/>
              <a:gd name="connsiteX8" fmla="*/ 11904029 w 12192000"/>
              <a:gd name="connsiteY8" fmla="*/ 265661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5661 h 6858000"/>
              <a:gd name="connsiteX6" fmla="*/ 10145220 w 12192000"/>
              <a:gd name="connsiteY6" fmla="*/ 1027941 h 6858000"/>
              <a:gd name="connsiteX7" fmla="*/ 11904029 w 12192000"/>
              <a:gd name="connsiteY7" fmla="*/ 1025401 h 6858000"/>
              <a:gd name="connsiteX8" fmla="*/ 11904029 w 12192000"/>
              <a:gd name="connsiteY8" fmla="*/ 265661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5661 h 6858000"/>
              <a:gd name="connsiteX6" fmla="*/ 10206180 w 12192000"/>
              <a:gd name="connsiteY6" fmla="*/ 955551 h 6858000"/>
              <a:gd name="connsiteX7" fmla="*/ 11904029 w 12192000"/>
              <a:gd name="connsiteY7" fmla="*/ 1025401 h 6858000"/>
              <a:gd name="connsiteX8" fmla="*/ 11904029 w 12192000"/>
              <a:gd name="connsiteY8" fmla="*/ 265661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5661 h 6858000"/>
              <a:gd name="connsiteX6" fmla="*/ 10143315 w 12192000"/>
              <a:gd name="connsiteY6" fmla="*/ 1027941 h 6858000"/>
              <a:gd name="connsiteX7" fmla="*/ 11904029 w 12192000"/>
              <a:gd name="connsiteY7" fmla="*/ 1025401 h 6858000"/>
              <a:gd name="connsiteX8" fmla="*/ 11904029 w 12192000"/>
              <a:gd name="connsiteY8" fmla="*/ 265661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5661 h 6858000"/>
              <a:gd name="connsiteX6" fmla="*/ 10141410 w 12192000"/>
              <a:gd name="connsiteY6" fmla="*/ 1026036 h 6858000"/>
              <a:gd name="connsiteX7" fmla="*/ 11904029 w 12192000"/>
              <a:gd name="connsiteY7" fmla="*/ 1025401 h 6858000"/>
              <a:gd name="connsiteX8" fmla="*/ 11904029 w 12192000"/>
              <a:gd name="connsiteY8" fmla="*/ 265661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5661 h 6858000"/>
              <a:gd name="connsiteX6" fmla="*/ 10143315 w 12192000"/>
              <a:gd name="connsiteY6" fmla="*/ 1026036 h 6858000"/>
              <a:gd name="connsiteX7" fmla="*/ 11904029 w 12192000"/>
              <a:gd name="connsiteY7" fmla="*/ 1025401 h 6858000"/>
              <a:gd name="connsiteX8" fmla="*/ 11904029 w 12192000"/>
              <a:gd name="connsiteY8" fmla="*/ 265661 h 6858000"/>
              <a:gd name="connsiteX9" fmla="*/ 10146490 w 12192000"/>
              <a:gd name="connsiteY9" fmla="*/ 26566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260790 w 12192000"/>
              <a:gd name="connsiteY5" fmla="*/ 385676 h 6858000"/>
              <a:gd name="connsiteX6" fmla="*/ 10143315 w 12192000"/>
              <a:gd name="connsiteY6" fmla="*/ 1026036 h 6858000"/>
              <a:gd name="connsiteX7" fmla="*/ 11904029 w 12192000"/>
              <a:gd name="connsiteY7" fmla="*/ 1025401 h 6858000"/>
              <a:gd name="connsiteX8" fmla="*/ 11904029 w 12192000"/>
              <a:gd name="connsiteY8" fmla="*/ 265661 h 6858000"/>
              <a:gd name="connsiteX9" fmla="*/ 10260790 w 12192000"/>
              <a:gd name="connsiteY9" fmla="*/ 385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71376 h 6858000"/>
              <a:gd name="connsiteX6" fmla="*/ 10143315 w 12192000"/>
              <a:gd name="connsiteY6" fmla="*/ 1026036 h 6858000"/>
              <a:gd name="connsiteX7" fmla="*/ 11904029 w 12192000"/>
              <a:gd name="connsiteY7" fmla="*/ 1025401 h 6858000"/>
              <a:gd name="connsiteX8" fmla="*/ 11904029 w 12192000"/>
              <a:gd name="connsiteY8" fmla="*/ 265661 h 6858000"/>
              <a:gd name="connsiteX9" fmla="*/ 10146490 w 12192000"/>
              <a:gd name="connsiteY9" fmla="*/ 2713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71376 h 6858000"/>
              <a:gd name="connsiteX6" fmla="*/ 10143315 w 12192000"/>
              <a:gd name="connsiteY6" fmla="*/ 1026036 h 6858000"/>
              <a:gd name="connsiteX7" fmla="*/ 11904029 w 12192000"/>
              <a:gd name="connsiteY7" fmla="*/ 1025401 h 6858000"/>
              <a:gd name="connsiteX8" fmla="*/ 11782109 w 12192000"/>
              <a:gd name="connsiteY8" fmla="*/ 360911 h 6858000"/>
              <a:gd name="connsiteX9" fmla="*/ 10146490 w 12192000"/>
              <a:gd name="connsiteY9" fmla="*/ 2713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71376 h 6858000"/>
              <a:gd name="connsiteX6" fmla="*/ 10143315 w 12192000"/>
              <a:gd name="connsiteY6" fmla="*/ 1026036 h 6858000"/>
              <a:gd name="connsiteX7" fmla="*/ 11904029 w 12192000"/>
              <a:gd name="connsiteY7" fmla="*/ 1025401 h 6858000"/>
              <a:gd name="connsiteX8" fmla="*/ 11904029 w 12192000"/>
              <a:gd name="connsiteY8" fmla="*/ 267566 h 6858000"/>
              <a:gd name="connsiteX9" fmla="*/ 10146490 w 12192000"/>
              <a:gd name="connsiteY9" fmla="*/ 2713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71376 h 6858000"/>
              <a:gd name="connsiteX6" fmla="*/ 10143315 w 12192000"/>
              <a:gd name="connsiteY6" fmla="*/ 1026036 h 6858000"/>
              <a:gd name="connsiteX7" fmla="*/ 11669714 w 12192000"/>
              <a:gd name="connsiteY7" fmla="*/ 956821 h 6858000"/>
              <a:gd name="connsiteX8" fmla="*/ 11904029 w 12192000"/>
              <a:gd name="connsiteY8" fmla="*/ 267566 h 6858000"/>
              <a:gd name="connsiteX9" fmla="*/ 10146490 w 12192000"/>
              <a:gd name="connsiteY9" fmla="*/ 2713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71376 h 6858000"/>
              <a:gd name="connsiteX6" fmla="*/ 10143315 w 12192000"/>
              <a:gd name="connsiteY6" fmla="*/ 1026036 h 6858000"/>
              <a:gd name="connsiteX7" fmla="*/ 11902124 w 12192000"/>
              <a:gd name="connsiteY7" fmla="*/ 1029211 h 6858000"/>
              <a:gd name="connsiteX8" fmla="*/ 11904029 w 12192000"/>
              <a:gd name="connsiteY8" fmla="*/ 267566 h 6858000"/>
              <a:gd name="connsiteX9" fmla="*/ 10146490 w 12192000"/>
              <a:gd name="connsiteY9" fmla="*/ 2713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71376 h 6858000"/>
              <a:gd name="connsiteX6" fmla="*/ 10217610 w 12192000"/>
              <a:gd name="connsiteY6" fmla="*/ 963171 h 6858000"/>
              <a:gd name="connsiteX7" fmla="*/ 11902124 w 12192000"/>
              <a:gd name="connsiteY7" fmla="*/ 1029211 h 6858000"/>
              <a:gd name="connsiteX8" fmla="*/ 11904029 w 12192000"/>
              <a:gd name="connsiteY8" fmla="*/ 267566 h 6858000"/>
              <a:gd name="connsiteX9" fmla="*/ 10146490 w 12192000"/>
              <a:gd name="connsiteY9" fmla="*/ 2713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71376 h 6858000"/>
              <a:gd name="connsiteX6" fmla="*/ 10143315 w 12192000"/>
              <a:gd name="connsiteY6" fmla="*/ 1026036 h 6858000"/>
              <a:gd name="connsiteX7" fmla="*/ 11902124 w 12192000"/>
              <a:gd name="connsiteY7" fmla="*/ 1029211 h 6858000"/>
              <a:gd name="connsiteX8" fmla="*/ 11904029 w 12192000"/>
              <a:gd name="connsiteY8" fmla="*/ 267566 h 6858000"/>
              <a:gd name="connsiteX9" fmla="*/ 10146490 w 12192000"/>
              <a:gd name="connsiteY9" fmla="*/ 2713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71376 h 6858000"/>
              <a:gd name="connsiteX6" fmla="*/ 10143315 w 12192000"/>
              <a:gd name="connsiteY6" fmla="*/ 1026036 h 6858000"/>
              <a:gd name="connsiteX7" fmla="*/ 11904029 w 12192000"/>
              <a:gd name="connsiteY7" fmla="*/ 1027306 h 6858000"/>
              <a:gd name="connsiteX8" fmla="*/ 11904029 w 12192000"/>
              <a:gd name="connsiteY8" fmla="*/ 267566 h 6858000"/>
              <a:gd name="connsiteX9" fmla="*/ 10146490 w 12192000"/>
              <a:gd name="connsiteY9" fmla="*/ 2713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3315 w 12192000"/>
              <a:gd name="connsiteY6" fmla="*/ 1026036 h 6858000"/>
              <a:gd name="connsiteX7" fmla="*/ 11904029 w 12192000"/>
              <a:gd name="connsiteY7" fmla="*/ 1027306 h 6858000"/>
              <a:gd name="connsiteX8" fmla="*/ 11904029 w 12192000"/>
              <a:gd name="connsiteY8" fmla="*/ 26756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3315 w 12192000"/>
              <a:gd name="connsiteY6" fmla="*/ 1026036 h 6858000"/>
              <a:gd name="connsiteX7" fmla="*/ 11904029 w 12192000"/>
              <a:gd name="connsiteY7" fmla="*/ 1027306 h 6858000"/>
              <a:gd name="connsiteX8" fmla="*/ 11902124 w 12192000"/>
              <a:gd name="connsiteY8" fmla="*/ 269471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3315 w 12192000"/>
              <a:gd name="connsiteY6" fmla="*/ 1026036 h 6858000"/>
              <a:gd name="connsiteX7" fmla="*/ 11902124 w 12192000"/>
              <a:gd name="connsiteY7" fmla="*/ 1025401 h 6858000"/>
              <a:gd name="connsiteX8" fmla="*/ 11902124 w 12192000"/>
              <a:gd name="connsiteY8" fmla="*/ 269471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7125 w 12192000"/>
              <a:gd name="connsiteY6" fmla="*/ 1026036 h 6858000"/>
              <a:gd name="connsiteX7" fmla="*/ 11902124 w 12192000"/>
              <a:gd name="connsiteY7" fmla="*/ 1025401 h 6858000"/>
              <a:gd name="connsiteX8" fmla="*/ 11902124 w 12192000"/>
              <a:gd name="connsiteY8" fmla="*/ 269471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297620 w 12192000"/>
              <a:gd name="connsiteY6" fmla="*/ 885066 h 6858000"/>
              <a:gd name="connsiteX7" fmla="*/ 11902124 w 12192000"/>
              <a:gd name="connsiteY7" fmla="*/ 1025401 h 6858000"/>
              <a:gd name="connsiteX8" fmla="*/ 11902124 w 12192000"/>
              <a:gd name="connsiteY8" fmla="*/ 269471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7125 w 12192000"/>
              <a:gd name="connsiteY6" fmla="*/ 1029846 h 6858000"/>
              <a:gd name="connsiteX7" fmla="*/ 11902124 w 12192000"/>
              <a:gd name="connsiteY7" fmla="*/ 1025401 h 6858000"/>
              <a:gd name="connsiteX8" fmla="*/ 11902124 w 12192000"/>
              <a:gd name="connsiteY8" fmla="*/ 269471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349055 w 12192000"/>
              <a:gd name="connsiteY6" fmla="*/ 875541 h 6858000"/>
              <a:gd name="connsiteX7" fmla="*/ 11902124 w 12192000"/>
              <a:gd name="connsiteY7" fmla="*/ 1025401 h 6858000"/>
              <a:gd name="connsiteX8" fmla="*/ 11902124 w 12192000"/>
              <a:gd name="connsiteY8" fmla="*/ 269471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3315 w 12192000"/>
              <a:gd name="connsiteY6" fmla="*/ 1027941 h 6858000"/>
              <a:gd name="connsiteX7" fmla="*/ 11902124 w 12192000"/>
              <a:gd name="connsiteY7" fmla="*/ 1025401 h 6858000"/>
              <a:gd name="connsiteX8" fmla="*/ 11902124 w 12192000"/>
              <a:gd name="connsiteY8" fmla="*/ 269471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3315 w 12192000"/>
              <a:gd name="connsiteY6" fmla="*/ 1027941 h 6858000"/>
              <a:gd name="connsiteX7" fmla="*/ 11902124 w 12192000"/>
              <a:gd name="connsiteY7" fmla="*/ 1025401 h 6858000"/>
              <a:gd name="connsiteX8" fmla="*/ 11625899 w 12192000"/>
              <a:gd name="connsiteY8" fmla="*/ 412346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4585 w 12192000"/>
              <a:gd name="connsiteY5" fmla="*/ 269471 h 6858000"/>
              <a:gd name="connsiteX6" fmla="*/ 10143315 w 12192000"/>
              <a:gd name="connsiteY6" fmla="*/ 1027941 h 6858000"/>
              <a:gd name="connsiteX7" fmla="*/ 11902124 w 12192000"/>
              <a:gd name="connsiteY7" fmla="*/ 1025401 h 6858000"/>
              <a:gd name="connsiteX8" fmla="*/ 11902124 w 12192000"/>
              <a:gd name="connsiteY8" fmla="*/ 269471 h 6858000"/>
              <a:gd name="connsiteX9" fmla="*/ 10144585 w 12192000"/>
              <a:gd name="connsiteY9" fmla="*/ 26947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376995 w 12192000"/>
              <a:gd name="connsiteY5" fmla="*/ 440921 h 6858000"/>
              <a:gd name="connsiteX6" fmla="*/ 10143315 w 12192000"/>
              <a:gd name="connsiteY6" fmla="*/ 1027941 h 6858000"/>
              <a:gd name="connsiteX7" fmla="*/ 11902124 w 12192000"/>
              <a:gd name="connsiteY7" fmla="*/ 1025401 h 6858000"/>
              <a:gd name="connsiteX8" fmla="*/ 11902124 w 12192000"/>
              <a:gd name="connsiteY8" fmla="*/ 269471 h 6858000"/>
              <a:gd name="connsiteX9" fmla="*/ 10376995 w 12192000"/>
              <a:gd name="connsiteY9" fmla="*/ 440921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7566 h 6858000"/>
              <a:gd name="connsiteX6" fmla="*/ 10143315 w 12192000"/>
              <a:gd name="connsiteY6" fmla="*/ 1027941 h 6858000"/>
              <a:gd name="connsiteX7" fmla="*/ 11902124 w 12192000"/>
              <a:gd name="connsiteY7" fmla="*/ 1025401 h 6858000"/>
              <a:gd name="connsiteX8" fmla="*/ 11902124 w 12192000"/>
              <a:gd name="connsiteY8" fmla="*/ 269471 h 6858000"/>
              <a:gd name="connsiteX9" fmla="*/ 10146490 w 12192000"/>
              <a:gd name="connsiteY9" fmla="*/ 26756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7566 h 6858000"/>
              <a:gd name="connsiteX6" fmla="*/ 10143315 w 12192000"/>
              <a:gd name="connsiteY6" fmla="*/ 1027941 h 6858000"/>
              <a:gd name="connsiteX7" fmla="*/ 11902124 w 12192000"/>
              <a:gd name="connsiteY7" fmla="*/ 1025401 h 6858000"/>
              <a:gd name="connsiteX8" fmla="*/ 11900219 w 12192000"/>
              <a:gd name="connsiteY8" fmla="*/ 267566 h 6858000"/>
              <a:gd name="connsiteX9" fmla="*/ 10146490 w 12192000"/>
              <a:gd name="connsiteY9" fmla="*/ 26756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7566 h 6858000"/>
              <a:gd name="connsiteX6" fmla="*/ 10143315 w 12192000"/>
              <a:gd name="connsiteY6" fmla="*/ 1027941 h 6858000"/>
              <a:gd name="connsiteX7" fmla="*/ 11902124 w 12192000"/>
              <a:gd name="connsiteY7" fmla="*/ 1025401 h 6858000"/>
              <a:gd name="connsiteX8" fmla="*/ 11904029 w 12192000"/>
              <a:gd name="connsiteY8" fmla="*/ 267566 h 6858000"/>
              <a:gd name="connsiteX9" fmla="*/ 10146490 w 12192000"/>
              <a:gd name="connsiteY9" fmla="*/ 26756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7566 h 6858000"/>
              <a:gd name="connsiteX6" fmla="*/ 10149030 w 12192000"/>
              <a:gd name="connsiteY6" fmla="*/ 1026036 h 6858000"/>
              <a:gd name="connsiteX7" fmla="*/ 11902124 w 12192000"/>
              <a:gd name="connsiteY7" fmla="*/ 1025401 h 6858000"/>
              <a:gd name="connsiteX8" fmla="*/ 11904029 w 12192000"/>
              <a:gd name="connsiteY8" fmla="*/ 267566 h 6858000"/>
              <a:gd name="connsiteX9" fmla="*/ 10146490 w 12192000"/>
              <a:gd name="connsiteY9" fmla="*/ 26756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489966 w 12192000"/>
              <a:gd name="connsiteY0" fmla="*/ 6280287 h 6858000"/>
              <a:gd name="connsiteX1" fmla="*/ 488061 w 12192000"/>
              <a:gd name="connsiteY1" fmla="*/ 6386217 h 6858000"/>
              <a:gd name="connsiteX2" fmla="*/ 951870 w 12192000"/>
              <a:gd name="connsiteY2" fmla="*/ 6386217 h 6858000"/>
              <a:gd name="connsiteX3" fmla="*/ 951870 w 12192000"/>
              <a:gd name="connsiteY3" fmla="*/ 6280287 h 6858000"/>
              <a:gd name="connsiteX4" fmla="*/ 489966 w 12192000"/>
              <a:gd name="connsiteY4" fmla="*/ 6280287 h 6858000"/>
              <a:gd name="connsiteX5" fmla="*/ 10146490 w 12192000"/>
              <a:gd name="connsiteY5" fmla="*/ 267566 h 6858000"/>
              <a:gd name="connsiteX6" fmla="*/ 10145220 w 12192000"/>
              <a:gd name="connsiteY6" fmla="*/ 1026036 h 6858000"/>
              <a:gd name="connsiteX7" fmla="*/ 11902124 w 12192000"/>
              <a:gd name="connsiteY7" fmla="*/ 1025401 h 6858000"/>
              <a:gd name="connsiteX8" fmla="*/ 11904029 w 12192000"/>
              <a:gd name="connsiteY8" fmla="*/ 267566 h 6858000"/>
              <a:gd name="connsiteX9" fmla="*/ 10146490 w 12192000"/>
              <a:gd name="connsiteY9" fmla="*/ 26756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0">
                <a:moveTo>
                  <a:pt x="489966" y="6280287"/>
                </a:moveTo>
                <a:lnTo>
                  <a:pt x="488061" y="6386217"/>
                </a:lnTo>
                <a:lnTo>
                  <a:pt x="951870" y="6386217"/>
                </a:lnTo>
                <a:lnTo>
                  <a:pt x="951870" y="6280287"/>
                </a:lnTo>
                <a:lnTo>
                  <a:pt x="489966" y="6280287"/>
                </a:lnTo>
                <a:close/>
                <a:moveTo>
                  <a:pt x="10146490" y="267566"/>
                </a:moveTo>
                <a:cubicBezTo>
                  <a:pt x="10144797" y="526104"/>
                  <a:pt x="10146913" y="767498"/>
                  <a:pt x="10145220" y="1026036"/>
                </a:cubicBezTo>
                <a:lnTo>
                  <a:pt x="11902124" y="1025401"/>
                </a:lnTo>
                <a:lnTo>
                  <a:pt x="11904029" y="267566"/>
                </a:lnTo>
                <a:lnTo>
                  <a:pt x="10146490" y="26756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B2BCC63D-764D-453B-B95D-B53E771DF12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4834859"/>
            <a:ext cx="7812088" cy="133607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>
            <a:lvl1pPr marL="0" indent="0">
              <a:buNone/>
              <a:tabLst>
                <a:tab pos="1074738" algn="l"/>
              </a:tabLst>
              <a:defRPr lang="de-DE" sz="4800" b="1" cap="all" baseline="0" smtClean="0">
                <a:solidFill>
                  <a:schemeClr val="bg1"/>
                </a:solidFill>
                <a:latin typeface="STIHL Contraface Display Title" panose="02000600040000020004" pitchFamily="50" charset="0"/>
              </a:defRPr>
            </a:lvl1pPr>
            <a:lvl2pPr marL="277812" indent="0">
              <a:buNone/>
              <a:defRPr lang="de-DE" smtClean="0"/>
            </a:lvl2pPr>
            <a:lvl3pPr marL="739775" indent="0">
              <a:buNone/>
              <a:defRPr lang="de-DE" sz="1800" smtClean="0"/>
            </a:lvl3pPr>
            <a:lvl4pPr marL="1190625" indent="0">
              <a:buNone/>
              <a:defRPr lang="de-DE" sz="1800" smtClean="0"/>
            </a:lvl4pPr>
            <a:lvl5pPr marL="1647825" indent="0">
              <a:buNone/>
              <a:defRPr lang="de-DE" sz="1800"/>
            </a:lvl5pPr>
          </a:lstStyle>
          <a:p>
            <a:pPr marL="0" lvl="0"/>
            <a:r>
              <a:rPr lang="de-DE" dirty="0"/>
              <a:t>Abschlussworte (vielen Dank)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2C6085ED-8EF3-4C74-9B9D-7804FC5FAEA1}"/>
              </a:ext>
            </a:extLst>
          </p:cNvPr>
          <p:cNvSpPr/>
          <p:nvPr userDrawn="1"/>
        </p:nvSpPr>
        <p:spPr>
          <a:xfrm>
            <a:off x="495191" y="6283982"/>
            <a:ext cx="450741" cy="945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CF86407-DA27-4CA6-A346-F8477F884E96}"/>
              </a:ext>
            </a:extLst>
          </p:cNvPr>
          <p:cNvSpPr>
            <a:spLocks/>
          </p:cNvSpPr>
          <p:nvPr userDrawn="1"/>
        </p:nvSpPr>
        <p:spPr>
          <a:xfrm>
            <a:off x="-1939923" y="2913099"/>
            <a:ext cx="1772284" cy="1031803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0" dirty="0">
                <a:solidFill>
                  <a:schemeClr val="tx1"/>
                </a:solidFill>
              </a:rPr>
              <a:t>Please do not print slides with full-surface colors or motifs 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6061" y="258750"/>
            <a:ext cx="1774212" cy="775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8157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70" imgH="371" progId="TCLayout.ActiveDocument.1">
                  <p:embed/>
                </p:oleObj>
              </mc:Choice>
              <mc:Fallback>
                <p:oleObj name="think-cell Folie" r:id="rId4" imgW="370" imgH="37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4800" b="1" i="0" baseline="0" dirty="0">
              <a:solidFill>
                <a:schemeClr val="tx1"/>
              </a:solidFill>
              <a:latin typeface="STIHL Contraface Display Title"/>
              <a:ea typeface="+mn-ea"/>
              <a:cs typeface="+mn-cs"/>
              <a:sym typeface="STIHL Contraface Display Title"/>
            </a:endParaRPr>
          </a:p>
        </p:txBody>
      </p:sp>
      <p:sp>
        <p:nvSpPr>
          <p:cNvPr id="11" name="Subline">
            <a:extLst>
              <a:ext uri="{FF2B5EF4-FFF2-40B4-BE49-F238E27FC236}">
                <a16:creationId xmlns:a16="http://schemas.microsoft.com/office/drawing/2014/main" id="{93378434-A597-4F7F-B029-ECD35EA41B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5706830"/>
            <a:ext cx="8640000" cy="216000"/>
          </a:xfrm>
          <a:prstGeom prst="rect">
            <a:avLst/>
          </a:prstGeom>
        </p:spPr>
        <p:txBody>
          <a:bodyPr lIns="0" rIns="0" anchor="b" anchorCtr="0">
            <a:noAutofit/>
          </a:bodyPr>
          <a:lstStyle>
            <a:lvl1pPr marL="0" indent="0">
              <a:buNone/>
              <a:defRPr sz="1800" b="1" cap="none" baseline="0">
                <a:latin typeface="+mj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12" name="Name">
            <a:extLst>
              <a:ext uri="{FF2B5EF4-FFF2-40B4-BE49-F238E27FC236}">
                <a16:creationId xmlns:a16="http://schemas.microsoft.com/office/drawing/2014/main" id="{78096696-CF0D-4E90-AD93-F265006F55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1500" y="6049289"/>
            <a:ext cx="8640000" cy="216000"/>
          </a:xfrm>
          <a:prstGeom prst="rect">
            <a:avLst/>
          </a:prstGeom>
        </p:spPr>
        <p:txBody>
          <a:bodyPr lIns="0" rIns="0" anchor="t" anchorCtr="0">
            <a:noAutofit/>
          </a:bodyPr>
          <a:lstStyle>
            <a:lvl1pPr marL="0" indent="0">
              <a:buNone/>
              <a:defRPr sz="1800" cap="none" baseline="0">
                <a:latin typeface="+mn-lt"/>
              </a:defRPr>
            </a:lvl1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93CE0D43-2D94-4A12-94F6-C940A9EBB10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1500" y="6283748"/>
            <a:ext cx="8640000" cy="216000"/>
          </a:xfrm>
          <a:prstGeom prst="rect">
            <a:avLst/>
          </a:prstGeom>
        </p:spPr>
        <p:txBody>
          <a:bodyPr lIns="0" rIns="0" anchor="t" anchorCtr="0">
            <a:noAutofit/>
          </a:bodyPr>
          <a:lstStyle>
            <a:lvl1pPr marL="0" indent="0">
              <a:buNone/>
              <a:defRPr sz="1800" cap="none" baseline="0">
                <a:latin typeface="+mn-lt"/>
              </a:defRPr>
            </a:lvl1pPr>
          </a:lstStyle>
          <a:p>
            <a:pPr lvl="0"/>
            <a:r>
              <a:rPr lang="de-DE" dirty="0"/>
              <a:t>Datum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0262" y="502821"/>
            <a:ext cx="1385810" cy="287488"/>
          </a:xfrm>
          <a:prstGeom prst="rect">
            <a:avLst/>
          </a:prstGeom>
        </p:spPr>
      </p:pic>
      <p:sp>
        <p:nvSpPr>
          <p:cNvPr id="13" name="Textplatzhalt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571500" y="2113200"/>
            <a:ext cx="8640000" cy="3240000"/>
          </a:xfrm>
        </p:spPr>
        <p:txBody>
          <a:bodyPr lIns="288000" tIns="288000" rIns="288000" bIns="288000"/>
          <a:lstStyle>
            <a:lvl1pPr>
              <a:spcAft>
                <a:spcPts val="0"/>
              </a:spcAft>
              <a:defRPr sz="4800">
                <a:latin typeface="STIHL Contraface Display Title" pitchFamily="50" charset="0"/>
              </a:defRPr>
            </a:lvl1pPr>
            <a:lvl2pPr>
              <a:spcAft>
                <a:spcPts val="0"/>
              </a:spcAft>
              <a:defRPr>
                <a:latin typeface="STIHL Contraface Display Title" pitchFamily="50" charset="0"/>
              </a:defRPr>
            </a:lvl2pPr>
            <a:lvl3pPr>
              <a:spcAft>
                <a:spcPts val="0"/>
              </a:spcAft>
              <a:defRPr>
                <a:latin typeface="STIHL Contraface Display Title" pitchFamily="50" charset="0"/>
              </a:defRPr>
            </a:lvl3pPr>
            <a:lvl4pPr>
              <a:spcAft>
                <a:spcPts val="0"/>
              </a:spcAft>
              <a:defRPr>
                <a:latin typeface="STIHL Contraface Display Title" pitchFamily="50" charset="0"/>
              </a:defRPr>
            </a:lvl4pPr>
            <a:lvl5pPr>
              <a:spcAft>
                <a:spcPts val="0"/>
              </a:spcAft>
              <a:defRPr>
                <a:latin typeface="STIHL Contraface Display Title" pitchFamily="50" charset="0"/>
              </a:defRPr>
            </a:lvl5pPr>
          </a:lstStyle>
          <a:p>
            <a:pPr lvl="0"/>
            <a:r>
              <a:rPr lang="de-DE" dirty="0"/>
              <a:t>Mastertitelformat bearbeiten</a:t>
            </a:r>
            <a:br>
              <a:rPr lang="de-DE" dirty="0"/>
            </a:br>
            <a:r>
              <a:rPr lang="de-DE" dirty="0"/>
              <a:t>ƒ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5CF86407-DA27-4CA6-A346-F8477F884E96}"/>
              </a:ext>
            </a:extLst>
          </p:cNvPr>
          <p:cNvSpPr>
            <a:spLocks/>
          </p:cNvSpPr>
          <p:nvPr userDrawn="1"/>
        </p:nvSpPr>
        <p:spPr>
          <a:xfrm>
            <a:off x="-1943099" y="4254839"/>
            <a:ext cx="1772284" cy="16966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72000" bIns="7200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1600" b="0" dirty="0">
                <a:solidFill>
                  <a:schemeClr val="tx1"/>
                </a:solidFill>
              </a:rPr>
              <a:t>Insert the underline after the headline using the numeric keypad and the key combination "Alt + 0131“</a:t>
            </a:r>
          </a:p>
        </p:txBody>
      </p:sp>
    </p:spTree>
    <p:extLst>
      <p:ext uri="{BB962C8B-B14F-4D97-AF65-F5344CB8AC3E}">
        <p14:creationId xmlns:p14="http://schemas.microsoft.com/office/powerpoint/2010/main" val="31490249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25DBC705-8149-459E-9D73-71848E406B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25DBC705-8149-459E-9D73-71848E406B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39010A7A-64D4-40B1-96E7-BCEEBB7E8A3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200" b="1" i="0" baseline="0" dirty="0">
              <a:solidFill>
                <a:schemeClr val="tx1"/>
              </a:solidFill>
              <a:latin typeface="STIHL Contraface Text"/>
              <a:ea typeface="+mj-ea"/>
              <a:cs typeface="+mj-cs"/>
              <a:sym typeface="STIHL Contraface Text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E73F636-8F03-4538-831F-37B264F004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1130300"/>
            <a:ext cx="11233147" cy="249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de-DE" sz="1800" cap="none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114300" lvl="0" indent="-34290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753CF0BC-3DA6-4688-820F-374B0CB9C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503546"/>
            <a:ext cx="9579925" cy="30469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220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4" hasCustomPrompt="1"/>
          </p:nvPr>
        </p:nvSpPr>
        <p:spPr>
          <a:xfrm>
            <a:off x="479426" y="1603375"/>
            <a:ext cx="11233147" cy="4851399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681427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0605A64-2B63-413A-A26B-43B30D7712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0605A64-2B63-413A-A26B-43B30D7712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0416A2A-8426-4273-BB96-478B6314705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200" b="1" i="0" baseline="0" dirty="0">
              <a:solidFill>
                <a:schemeClr val="tx1"/>
              </a:solidFill>
              <a:latin typeface="STIHL Contraface Text"/>
              <a:ea typeface="+mj-ea"/>
              <a:cs typeface="+mj-cs"/>
              <a:sym typeface="STIHL Contraface Text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490E706-F8A4-4052-9AE3-BC93A228C9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503546"/>
            <a:ext cx="9579925" cy="30469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2200" dirty="0"/>
            </a:lvl1pPr>
          </a:lstStyle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C20E754-BBFE-4A95-AA44-67ACDA85C7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1130300"/>
            <a:ext cx="11233147" cy="249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de-DE" sz="1800" cap="none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114300" lvl="0" indent="-34290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27658937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ED5069-7E91-48C5-95E3-99F57E1765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8ED5069-7E91-48C5-95E3-99F57E1765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B2A3BD8A-6CFF-48E0-A155-11F4B2BBD55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200" b="1" i="0" baseline="0" dirty="0">
              <a:solidFill>
                <a:schemeClr val="tx1"/>
              </a:solidFill>
              <a:latin typeface="STIHL Contraface Text"/>
              <a:ea typeface="+mj-ea"/>
              <a:cs typeface="+mj-cs"/>
              <a:sym typeface="STIHL Contraface Text"/>
            </a:endParaRP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26E03A4-095B-410D-BCF8-3F189668F8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503546"/>
            <a:ext cx="9579925" cy="30469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2200" dirty="0"/>
            </a:lvl1pPr>
          </a:lstStyle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2" name="Textplatzhalter 8">
            <a:extLst>
              <a:ext uri="{FF2B5EF4-FFF2-40B4-BE49-F238E27FC236}">
                <a16:creationId xmlns:a16="http://schemas.microsoft.com/office/drawing/2014/main" id="{2EA80287-A2C9-4521-95F7-BFAC821FCA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7" y="1130300"/>
            <a:ext cx="11233147" cy="249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de-DE" sz="1800" cap="none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114300" lvl="0" indent="-34290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79427" y="1605307"/>
            <a:ext cx="11233147" cy="484934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8701604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653AC16-B8BF-4F06-9847-410FBD6611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653AC16-B8BF-4F06-9847-410FBD6611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21E1F63-0E73-4BE0-AB62-ECF4E2E15B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200" b="1" i="0" baseline="0" dirty="0">
              <a:solidFill>
                <a:schemeClr val="tx1"/>
              </a:solidFill>
              <a:latin typeface="STIHL Contraface Text"/>
              <a:ea typeface="+mj-ea"/>
              <a:cs typeface="+mj-cs"/>
              <a:sym typeface="STIHL Contraface Text"/>
            </a:endParaRP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A26E03A4-095B-410D-BCF8-3F189668F8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503546"/>
            <a:ext cx="9579925" cy="30469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2200" dirty="0"/>
            </a:lvl1pPr>
          </a:lstStyle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6DBC4AB2-2C37-4DD5-89D1-6E82832F27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7" y="1130300"/>
            <a:ext cx="11233147" cy="249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de-DE" sz="1800" cap="none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114300" lvl="0" indent="-34290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1" hasCustomPrompt="1"/>
          </p:nvPr>
        </p:nvSpPr>
        <p:spPr>
          <a:xfrm>
            <a:off x="479426" y="1605307"/>
            <a:ext cx="5384330" cy="484934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Inhaltsplatzhalter 4"/>
          <p:cNvSpPr>
            <a:spLocks noGrp="1"/>
          </p:cNvSpPr>
          <p:nvPr>
            <p:ph sz="quarter" idx="22" hasCustomPrompt="1"/>
          </p:nvPr>
        </p:nvSpPr>
        <p:spPr>
          <a:xfrm>
            <a:off x="6328244" y="1605307"/>
            <a:ext cx="5384330" cy="484934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662328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ntergrundbild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70" imgH="371" progId="TCLayout.ActiveDocument.1">
                  <p:embed/>
                </p:oleObj>
              </mc:Choice>
              <mc:Fallback>
                <p:oleObj name="think-cell Folie" r:id="rId4" imgW="370" imgH="37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200" b="1" i="0" baseline="0" dirty="0">
              <a:solidFill>
                <a:schemeClr val="tx1"/>
              </a:solidFill>
              <a:latin typeface="STIHL Contraface Text"/>
              <a:ea typeface="+mn-ea"/>
              <a:cs typeface="+mn-cs"/>
              <a:sym typeface="STIHL Contraface Text"/>
            </a:endParaRPr>
          </a:p>
        </p:txBody>
      </p:sp>
      <p:sp>
        <p:nvSpPr>
          <p:cNvPr id="17" name="Hintergrundbild">
            <a:extLst>
              <a:ext uri="{FF2B5EF4-FFF2-40B4-BE49-F238E27FC236}">
                <a16:creationId xmlns:a16="http://schemas.microsoft.com/office/drawing/2014/main" id="{91303CF3-1A7E-4149-A9A1-BC9B75037D6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10129345 w 12192000"/>
              <a:gd name="connsiteY4" fmla="*/ 344401 h 6858000"/>
              <a:gd name="connsiteX5" fmla="*/ 10129345 w 12192000"/>
              <a:gd name="connsiteY5" fmla="*/ 1099696 h 6858000"/>
              <a:gd name="connsiteX6" fmla="*/ 11857039 w 12192000"/>
              <a:gd name="connsiteY6" fmla="*/ 1099696 h 6858000"/>
              <a:gd name="connsiteX7" fmla="*/ 11857039 w 12192000"/>
              <a:gd name="connsiteY7" fmla="*/ 344401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6858000 h 6858000"/>
              <a:gd name="connsiteX11" fmla="*/ 0 w 12192000"/>
              <a:gd name="connsiteY11" fmla="*/ 685800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29345 w 12192000"/>
              <a:gd name="connsiteY6" fmla="*/ 1099696 h 6858000"/>
              <a:gd name="connsiteX7" fmla="*/ 11857039 w 12192000"/>
              <a:gd name="connsiteY7" fmla="*/ 1099696 h 6858000"/>
              <a:gd name="connsiteX8" fmla="*/ 11857039 w 12192000"/>
              <a:gd name="connsiteY8" fmla="*/ 34440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29345 w 12192000"/>
              <a:gd name="connsiteY6" fmla="*/ 1099696 h 6858000"/>
              <a:gd name="connsiteX7" fmla="*/ 11857039 w 12192000"/>
              <a:gd name="connsiteY7" fmla="*/ 1099696 h 6858000"/>
              <a:gd name="connsiteX8" fmla="*/ 11910379 w 12192000"/>
              <a:gd name="connsiteY8" fmla="*/ 26058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29345 w 12192000"/>
              <a:gd name="connsiteY6" fmla="*/ 1099696 h 6858000"/>
              <a:gd name="connsiteX7" fmla="*/ 11910379 w 12192000"/>
              <a:gd name="connsiteY7" fmla="*/ 1029211 h 6858000"/>
              <a:gd name="connsiteX8" fmla="*/ 11910379 w 12192000"/>
              <a:gd name="connsiteY8" fmla="*/ 26058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5401950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10379 w 12192000"/>
              <a:gd name="connsiteY7" fmla="*/ 1029211 h 6858000"/>
              <a:gd name="connsiteX8" fmla="*/ 11910379 w 12192000"/>
              <a:gd name="connsiteY8" fmla="*/ 26058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5401950 w 12192000"/>
              <a:gd name="connsiteY2" fmla="*/ 6536402 h 6858000"/>
              <a:gd name="connsiteX3" fmla="*/ 4587758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10379 w 12192000"/>
              <a:gd name="connsiteY7" fmla="*/ 1029211 h 6858000"/>
              <a:gd name="connsiteX8" fmla="*/ 11910379 w 12192000"/>
              <a:gd name="connsiteY8" fmla="*/ 26058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68969 w 12192000"/>
              <a:gd name="connsiteY2" fmla="*/ 6536402 h 6858000"/>
              <a:gd name="connsiteX3" fmla="*/ 4587758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10379 w 12192000"/>
              <a:gd name="connsiteY7" fmla="*/ 1029211 h 6858000"/>
              <a:gd name="connsiteX8" fmla="*/ 11910379 w 12192000"/>
              <a:gd name="connsiteY8" fmla="*/ 26058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68969 w 12192000"/>
              <a:gd name="connsiteY2" fmla="*/ 6536402 h 6858000"/>
              <a:gd name="connsiteX3" fmla="*/ 4575232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10379 w 12192000"/>
              <a:gd name="connsiteY7" fmla="*/ 1029211 h 6858000"/>
              <a:gd name="connsiteX8" fmla="*/ 11910379 w 12192000"/>
              <a:gd name="connsiteY8" fmla="*/ 26058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68969 w 12192000"/>
              <a:gd name="connsiteY2" fmla="*/ 6536402 h 6858000"/>
              <a:gd name="connsiteX3" fmla="*/ 4581495 w 12192000"/>
              <a:gd name="connsiteY3" fmla="*/ 338139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10379 w 12192000"/>
              <a:gd name="connsiteY7" fmla="*/ 1029211 h 6858000"/>
              <a:gd name="connsiteX8" fmla="*/ 11910379 w 12192000"/>
              <a:gd name="connsiteY8" fmla="*/ 26058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81495 w 12192000"/>
              <a:gd name="connsiteY3" fmla="*/ 338139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10379 w 12192000"/>
              <a:gd name="connsiteY7" fmla="*/ 1029211 h 6858000"/>
              <a:gd name="connsiteX8" fmla="*/ 11910379 w 12192000"/>
              <a:gd name="connsiteY8" fmla="*/ 26058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600284 w 12192000"/>
              <a:gd name="connsiteY3" fmla="*/ 338139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10379 w 12192000"/>
              <a:gd name="connsiteY7" fmla="*/ 1029211 h 6858000"/>
              <a:gd name="connsiteX8" fmla="*/ 11910379 w 12192000"/>
              <a:gd name="connsiteY8" fmla="*/ 26058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10379 w 12192000"/>
              <a:gd name="connsiteY7" fmla="*/ 1029211 h 6858000"/>
              <a:gd name="connsiteX8" fmla="*/ 11910379 w 12192000"/>
              <a:gd name="connsiteY8" fmla="*/ 26058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10379 w 12192000"/>
              <a:gd name="connsiteY7" fmla="*/ 1029211 h 6858000"/>
              <a:gd name="connsiteX8" fmla="*/ 11904664 w 12192000"/>
              <a:gd name="connsiteY8" fmla="*/ 26820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36965 w 12192000"/>
              <a:gd name="connsiteY5" fmla="*/ 258676 h 6858000"/>
              <a:gd name="connsiteX6" fmla="*/ 10138870 w 12192000"/>
              <a:gd name="connsiteY6" fmla="*/ 1034926 h 6858000"/>
              <a:gd name="connsiteX7" fmla="*/ 11904664 w 12192000"/>
              <a:gd name="connsiteY7" fmla="*/ 1027306 h 6858000"/>
              <a:gd name="connsiteX8" fmla="*/ 11904664 w 12192000"/>
              <a:gd name="connsiteY8" fmla="*/ 268201 h 6858000"/>
              <a:gd name="connsiteX9" fmla="*/ 10136965 w 12192000"/>
              <a:gd name="connsiteY9" fmla="*/ 25867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38870 w 12192000"/>
              <a:gd name="connsiteY6" fmla="*/ 1034926 h 6858000"/>
              <a:gd name="connsiteX7" fmla="*/ 11904664 w 12192000"/>
              <a:gd name="connsiteY7" fmla="*/ 1027306 h 6858000"/>
              <a:gd name="connsiteX8" fmla="*/ 11904664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904664 w 12192000"/>
              <a:gd name="connsiteY7" fmla="*/ 1027306 h 6858000"/>
              <a:gd name="connsiteX8" fmla="*/ 11904664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904664 w 12192000"/>
              <a:gd name="connsiteY7" fmla="*/ 1027306 h 6858000"/>
              <a:gd name="connsiteX8" fmla="*/ 11721784 w 12192000"/>
              <a:gd name="connsiteY8" fmla="*/ 39012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904664 w 12192000"/>
              <a:gd name="connsiteY7" fmla="*/ 1027306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649394 w 12192000"/>
              <a:gd name="connsiteY7" fmla="*/ 871096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904664 w 12192000"/>
              <a:gd name="connsiteY7" fmla="*/ 1027306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756074 w 12192000"/>
              <a:gd name="connsiteY7" fmla="*/ 953011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902759 w 12192000"/>
              <a:gd name="connsiteY7" fmla="*/ 1029211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735119 w 12192000"/>
              <a:gd name="connsiteY7" fmla="*/ 899671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900854 w 12192000"/>
              <a:gd name="connsiteY7" fmla="*/ 1029211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900854 w 12192000"/>
              <a:gd name="connsiteY7" fmla="*/ 1031116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94021 w 12192000"/>
              <a:gd name="connsiteY3" fmla="*/ 34440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900854 w 12192000"/>
              <a:gd name="connsiteY7" fmla="*/ 1027306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361950 w 12192000"/>
              <a:gd name="connsiteY0" fmla="*/ 34440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05121 w 12192000"/>
              <a:gd name="connsiteY3" fmla="*/ 261852 h 6858000"/>
              <a:gd name="connsiteX4" fmla="*/ 361950 w 12192000"/>
              <a:gd name="connsiteY4" fmla="*/ 34440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900854 w 12192000"/>
              <a:gd name="connsiteY7" fmla="*/ 1027306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292100 w 12192000"/>
              <a:gd name="connsiteY0" fmla="*/ 261852 h 6858000"/>
              <a:gd name="connsiteX1" fmla="*/ 361950 w 12192000"/>
              <a:gd name="connsiteY1" fmla="*/ 6536402 h 6858000"/>
              <a:gd name="connsiteX2" fmla="*/ 4587758 w 12192000"/>
              <a:gd name="connsiteY2" fmla="*/ 6536402 h 6858000"/>
              <a:gd name="connsiteX3" fmla="*/ 4505121 w 12192000"/>
              <a:gd name="connsiteY3" fmla="*/ 261852 h 6858000"/>
              <a:gd name="connsiteX4" fmla="*/ 292100 w 12192000"/>
              <a:gd name="connsiteY4" fmla="*/ 26185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900854 w 12192000"/>
              <a:gd name="connsiteY7" fmla="*/ 1027306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292100 w 12192000"/>
              <a:gd name="connsiteY0" fmla="*/ 261852 h 6858000"/>
              <a:gd name="connsiteX1" fmla="*/ 285750 w 12192000"/>
              <a:gd name="connsiteY1" fmla="*/ 6593552 h 6858000"/>
              <a:gd name="connsiteX2" fmla="*/ 4587758 w 12192000"/>
              <a:gd name="connsiteY2" fmla="*/ 6536402 h 6858000"/>
              <a:gd name="connsiteX3" fmla="*/ 4505121 w 12192000"/>
              <a:gd name="connsiteY3" fmla="*/ 261852 h 6858000"/>
              <a:gd name="connsiteX4" fmla="*/ 292100 w 12192000"/>
              <a:gd name="connsiteY4" fmla="*/ 26185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900854 w 12192000"/>
              <a:gd name="connsiteY7" fmla="*/ 1027306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292100 w 12192000"/>
              <a:gd name="connsiteY0" fmla="*/ 261852 h 6858000"/>
              <a:gd name="connsiteX1" fmla="*/ 285750 w 12192000"/>
              <a:gd name="connsiteY1" fmla="*/ 6593552 h 6858000"/>
              <a:gd name="connsiteX2" fmla="*/ 4498858 w 12192000"/>
              <a:gd name="connsiteY2" fmla="*/ 6593552 h 6858000"/>
              <a:gd name="connsiteX3" fmla="*/ 4505121 w 12192000"/>
              <a:gd name="connsiteY3" fmla="*/ 261852 h 6858000"/>
              <a:gd name="connsiteX4" fmla="*/ 292100 w 12192000"/>
              <a:gd name="connsiteY4" fmla="*/ 26185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900854 w 12192000"/>
              <a:gd name="connsiteY7" fmla="*/ 1027306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292100 w 12192000"/>
              <a:gd name="connsiteY0" fmla="*/ 261852 h 6858000"/>
              <a:gd name="connsiteX1" fmla="*/ 285750 w 12192000"/>
              <a:gd name="connsiteY1" fmla="*/ 6593552 h 6858000"/>
              <a:gd name="connsiteX2" fmla="*/ 4511558 w 12192000"/>
              <a:gd name="connsiteY2" fmla="*/ 6599902 h 6858000"/>
              <a:gd name="connsiteX3" fmla="*/ 4505121 w 12192000"/>
              <a:gd name="connsiteY3" fmla="*/ 261852 h 6858000"/>
              <a:gd name="connsiteX4" fmla="*/ 292100 w 12192000"/>
              <a:gd name="connsiteY4" fmla="*/ 261852 h 6858000"/>
              <a:gd name="connsiteX5" fmla="*/ 10144585 w 12192000"/>
              <a:gd name="connsiteY5" fmla="*/ 266296 h 6858000"/>
              <a:gd name="connsiteX6" fmla="*/ 10144585 w 12192000"/>
              <a:gd name="connsiteY6" fmla="*/ 1025401 h 6858000"/>
              <a:gd name="connsiteX7" fmla="*/ 11900854 w 12192000"/>
              <a:gd name="connsiteY7" fmla="*/ 1027306 h 6858000"/>
              <a:gd name="connsiteX8" fmla="*/ 11902759 w 12192000"/>
              <a:gd name="connsiteY8" fmla="*/ 268201 h 6858000"/>
              <a:gd name="connsiteX9" fmla="*/ 10144585 w 12192000"/>
              <a:gd name="connsiteY9" fmla="*/ 266296 h 6858000"/>
              <a:gd name="connsiteX10" fmla="*/ 0 w 12192000"/>
              <a:gd name="connsiteY10" fmla="*/ 0 h 6858000"/>
              <a:gd name="connsiteX11" fmla="*/ 12192000 w 12192000"/>
              <a:gd name="connsiteY11" fmla="*/ 0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6858000">
                <a:moveTo>
                  <a:pt x="292100" y="261852"/>
                </a:moveTo>
                <a:cubicBezTo>
                  <a:pt x="289983" y="2372419"/>
                  <a:pt x="287867" y="4482985"/>
                  <a:pt x="285750" y="6593552"/>
                </a:cubicBezTo>
                <a:lnTo>
                  <a:pt x="4511558" y="6599902"/>
                </a:lnTo>
                <a:cubicBezTo>
                  <a:pt x="4513646" y="4535902"/>
                  <a:pt x="4503033" y="2325852"/>
                  <a:pt x="4505121" y="261852"/>
                </a:cubicBezTo>
                <a:lnTo>
                  <a:pt x="292100" y="261852"/>
                </a:lnTo>
                <a:close/>
                <a:moveTo>
                  <a:pt x="10144585" y="266296"/>
                </a:moveTo>
                <a:lnTo>
                  <a:pt x="10144585" y="1025401"/>
                </a:lnTo>
                <a:lnTo>
                  <a:pt x="11900854" y="1027306"/>
                </a:lnTo>
                <a:lnTo>
                  <a:pt x="11902759" y="268201"/>
                </a:lnTo>
                <a:lnTo>
                  <a:pt x="10144585" y="26629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8" name="Subline">
            <a:extLst>
              <a:ext uri="{FF2B5EF4-FFF2-40B4-BE49-F238E27FC236}">
                <a16:creationId xmlns:a16="http://schemas.microsoft.com/office/drawing/2014/main" id="{27895B51-0BE5-4A27-BF19-DDD42ED326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4904" y="5443855"/>
            <a:ext cx="4219882" cy="166199"/>
          </a:xfrm>
          <a:prstGeom prst="rect">
            <a:avLst/>
          </a:prstGeom>
        </p:spPr>
        <p:txBody>
          <a:bodyPr lIns="288000" rIns="288000" anchor="t" anchorCtr="0">
            <a:spAutoFit/>
          </a:bodyPr>
          <a:lstStyle>
            <a:lvl1pPr marL="0" indent="0"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6D20123-1501-4CA7-AA2F-3112A0331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904" y="258750"/>
            <a:ext cx="4219882" cy="1191023"/>
          </a:xfrm>
        </p:spPr>
        <p:txBody>
          <a:bodyPr vert="horz" lIns="288000" tIns="288000" rIns="288000" bIns="288000" rtlCol="0">
            <a:noAutofit/>
          </a:bodyPr>
          <a:lstStyle>
            <a:lvl1pPr>
              <a:spcBef>
                <a:spcPts val="0"/>
              </a:spcBef>
              <a:defRPr lang="de-DE" sz="2200" cap="none" baseline="0" dirty="0">
                <a:latin typeface="+mj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CF86407-DA27-4CA6-A346-F8477F884E96}"/>
              </a:ext>
            </a:extLst>
          </p:cNvPr>
          <p:cNvSpPr>
            <a:spLocks/>
          </p:cNvSpPr>
          <p:nvPr userDrawn="1"/>
        </p:nvSpPr>
        <p:spPr>
          <a:xfrm>
            <a:off x="-1939923" y="2913099"/>
            <a:ext cx="1772284" cy="1031803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b="0" dirty="0">
                <a:solidFill>
                  <a:schemeClr val="tx1"/>
                </a:solidFill>
              </a:rPr>
              <a:t>Please do not print slides with full-surface colors or motifs 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6061" y="258750"/>
            <a:ext cx="1774212" cy="775631"/>
          </a:xfrm>
          <a:prstGeom prst="rect">
            <a:avLst/>
          </a:prstGeom>
        </p:spPr>
      </p:pic>
      <p:sp>
        <p:nvSpPr>
          <p:cNvPr id="6" name="Inhaltsplatzhalter 5"/>
          <p:cNvSpPr>
            <a:spLocks noGrp="1"/>
          </p:cNvSpPr>
          <p:nvPr>
            <p:ph sz="quarter" idx="16" hasCustomPrompt="1"/>
          </p:nvPr>
        </p:nvSpPr>
        <p:spPr>
          <a:xfrm>
            <a:off x="284904" y="1533024"/>
            <a:ext cx="4219882" cy="3910831"/>
          </a:xfrm>
        </p:spPr>
        <p:txBody>
          <a:bodyPr lIns="288000" rIns="28800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8994089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nhalt links / 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533893B-821E-4ADE-9220-F4BFD56A94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8" imgH="408" progId="TCLayout.ActiveDocument.1">
                  <p:embed/>
                </p:oleObj>
              </mc:Choice>
              <mc:Fallback>
                <p:oleObj name="think-cell Folie" r:id="rId4" imgW="408" imgH="40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533893B-821E-4ADE-9220-F4BFD56A9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59E3539-5FD6-406C-97C0-23B63907A3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200" b="1" i="0" baseline="0" dirty="0">
              <a:solidFill>
                <a:schemeClr val="tx1"/>
              </a:solidFill>
              <a:latin typeface="STIHL Contraface Text"/>
              <a:ea typeface="+mj-ea"/>
              <a:cs typeface="+mj-cs"/>
              <a:sym typeface="STIHL Contraface Text"/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3645C76C-2B5D-4ED3-8A37-4C9BFA9F1D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503546"/>
            <a:ext cx="9579925" cy="30469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de-DE" sz="2200" dirty="0"/>
            </a:lvl1pPr>
          </a:lstStyle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6910D21-640F-4D2A-A173-3AEDAE01B91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40007" y="1605435"/>
            <a:ext cx="5372567" cy="48493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90000"/>
              </a:lnSpc>
              <a:defRPr lang="de-DE" dirty="0"/>
            </a:lvl1pPr>
          </a:lstStyle>
          <a:p>
            <a:pPr lvl="0"/>
            <a:r>
              <a:rPr lang="de-DE" dirty="0"/>
              <a:t>Bild durch Klicken auf Symbol hinzufügen</a:t>
            </a: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3F74B75A-3F3E-4E2B-84F3-277B54EBC3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7" y="1130300"/>
            <a:ext cx="11233147" cy="249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lang="de-DE" sz="1800" cap="none" baseline="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114300" lvl="0" indent="-342900">
              <a:spcBef>
                <a:spcPct val="0"/>
              </a:spcBef>
            </a:pPr>
            <a:r>
              <a:rPr lang="de-DE" dirty="0"/>
              <a:t>Subheadli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5" hasCustomPrompt="1"/>
          </p:nvPr>
        </p:nvSpPr>
        <p:spPr>
          <a:xfrm>
            <a:off x="479426" y="1605435"/>
            <a:ext cx="5384332" cy="484934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550941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9C97816-FB06-4E95-856C-7D63D0431A47}"/>
              </a:ext>
            </a:extLst>
          </p:cNvPr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408" imgH="408" progId="TCLayout.ActiveDocument.1">
                  <p:embed/>
                </p:oleObj>
              </mc:Choice>
              <mc:Fallback>
                <p:oleObj name="think-cell Folie" r:id="rId27" imgW="408" imgH="4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9C97816-FB06-4E95-856C-7D63D0431A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31360F-217C-4503-B09B-C80FE49E58A8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200" b="1" i="0" baseline="0" dirty="0">
              <a:solidFill>
                <a:schemeClr val="tx1"/>
              </a:solidFill>
              <a:latin typeface="STIHL Contraface Text"/>
              <a:ea typeface="+mj-ea"/>
              <a:cs typeface="+mj-cs"/>
              <a:sym typeface="STIHL Contraface Text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47881EEE-4F13-4DC9-B8A4-B54C0C3C0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503546"/>
            <a:ext cx="9579925" cy="25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2C7C99F-364C-426F-8FE4-3FD5F0CADA8A}"/>
              </a:ext>
            </a:extLst>
          </p:cNvPr>
          <p:cNvSpPr txBox="1"/>
          <p:nvPr/>
        </p:nvSpPr>
        <p:spPr>
          <a:xfrm>
            <a:off x="479425" y="6592970"/>
            <a:ext cx="145392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800" dirty="0">
                <a:solidFill>
                  <a:schemeClr val="tx2"/>
                </a:solidFill>
              </a:rPr>
              <a:t>© ANDREAS STIHL AG &amp; Co. KG</a:t>
            </a:r>
          </a:p>
        </p:txBody>
      </p:sp>
      <p:cxnSp>
        <p:nvCxnSpPr>
          <p:cNvPr id="23" name="Gerade Verbindung 7">
            <a:extLst>
              <a:ext uri="{FF2B5EF4-FFF2-40B4-BE49-F238E27FC236}">
                <a16:creationId xmlns:a16="http://schemas.microsoft.com/office/drawing/2014/main" id="{28D584E0-5EF6-4DC5-B2D7-FFDA778CFAC1}"/>
              </a:ext>
            </a:extLst>
          </p:cNvPr>
          <p:cNvCxnSpPr>
            <a:cxnSpLocks/>
          </p:cNvCxnSpPr>
          <p:nvPr/>
        </p:nvCxnSpPr>
        <p:spPr>
          <a:xfrm>
            <a:off x="10059350" y="-190500"/>
            <a:ext cx="0" cy="126643"/>
          </a:xfrm>
          <a:prstGeom prst="line">
            <a:avLst/>
          </a:prstGeom>
          <a:ln w="1270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531305B-43CE-446C-88D1-BBDB274572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6" y="1130298"/>
            <a:ext cx="11233147" cy="53227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18" name="Gerade Verbindung 7">
            <a:extLst>
              <a:ext uri="{FF2B5EF4-FFF2-40B4-BE49-F238E27FC236}">
                <a16:creationId xmlns:a16="http://schemas.microsoft.com/office/drawing/2014/main" id="{EFB36787-F98E-4B12-B104-EEBBD9EECC10}"/>
              </a:ext>
            </a:extLst>
          </p:cNvPr>
          <p:cNvCxnSpPr>
            <a:cxnSpLocks/>
          </p:cNvCxnSpPr>
          <p:nvPr/>
        </p:nvCxnSpPr>
        <p:spPr>
          <a:xfrm>
            <a:off x="902806" y="-190500"/>
            <a:ext cx="0" cy="126643"/>
          </a:xfrm>
          <a:prstGeom prst="line">
            <a:avLst/>
          </a:prstGeom>
          <a:ln w="1270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7">
            <a:extLst>
              <a:ext uri="{FF2B5EF4-FFF2-40B4-BE49-F238E27FC236}">
                <a16:creationId xmlns:a16="http://schemas.microsoft.com/office/drawing/2014/main" id="{465918F8-CA5D-4293-89DC-F10E8B1C5462}"/>
              </a:ext>
            </a:extLst>
          </p:cNvPr>
          <p:cNvCxnSpPr>
            <a:cxnSpLocks/>
          </p:cNvCxnSpPr>
          <p:nvPr/>
        </p:nvCxnSpPr>
        <p:spPr>
          <a:xfrm>
            <a:off x="691116" y="-190500"/>
            <a:ext cx="0" cy="126643"/>
          </a:xfrm>
          <a:prstGeom prst="line">
            <a:avLst/>
          </a:prstGeom>
          <a:ln w="1270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7">
            <a:extLst>
              <a:ext uri="{FF2B5EF4-FFF2-40B4-BE49-F238E27FC236}">
                <a16:creationId xmlns:a16="http://schemas.microsoft.com/office/drawing/2014/main" id="{160AE795-C735-4204-9FF6-8CD4C42875B3}"/>
              </a:ext>
            </a:extLst>
          </p:cNvPr>
          <p:cNvCxnSpPr>
            <a:cxnSpLocks/>
          </p:cNvCxnSpPr>
          <p:nvPr/>
        </p:nvCxnSpPr>
        <p:spPr>
          <a:xfrm>
            <a:off x="479426" y="-190500"/>
            <a:ext cx="0" cy="126643"/>
          </a:xfrm>
          <a:prstGeom prst="line">
            <a:avLst/>
          </a:prstGeom>
          <a:ln w="1270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7">
            <a:extLst>
              <a:ext uri="{FF2B5EF4-FFF2-40B4-BE49-F238E27FC236}">
                <a16:creationId xmlns:a16="http://schemas.microsoft.com/office/drawing/2014/main" id="{0F42B521-F5CC-46CF-86E8-5B383F9E4C65}"/>
              </a:ext>
            </a:extLst>
          </p:cNvPr>
          <p:cNvCxnSpPr>
            <a:cxnSpLocks/>
          </p:cNvCxnSpPr>
          <p:nvPr/>
        </p:nvCxnSpPr>
        <p:spPr>
          <a:xfrm rot="5400000">
            <a:off x="-160655" y="196071"/>
            <a:ext cx="0" cy="126643"/>
          </a:xfrm>
          <a:prstGeom prst="line">
            <a:avLst/>
          </a:prstGeom>
          <a:ln w="12700" cap="rnd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0262" y="502821"/>
            <a:ext cx="1385810" cy="287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285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8256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6213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de-DE" sz="14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415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de-DE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3155950" indent="-26225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01">
          <p15:clr>
            <a:srgbClr val="F26B43"/>
          </p15:clr>
        </p15:guide>
        <p15:guide id="4" pos="7379">
          <p15:clr>
            <a:srgbClr val="F26B43"/>
          </p15:clr>
        </p15:guide>
        <p15:guide id="5" orient="horz" pos="317">
          <p15:clr>
            <a:srgbClr val="F26B43"/>
          </p15:clr>
        </p15:guide>
        <p15:guide id="10" orient="horz" pos="4066">
          <p15:clr>
            <a:srgbClr val="F26B43"/>
          </p15:clr>
        </p15:guide>
        <p15:guide id="11" orient="horz" pos="1010">
          <p15:clr>
            <a:srgbClr val="F26B43"/>
          </p15:clr>
        </p15:guide>
        <p15:guide id="13" orient="horz" pos="712">
          <p15:clr>
            <a:srgbClr val="F26B43"/>
          </p15:clr>
        </p15:guide>
        <p15:guide id="14" orient="horz" pos="1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3.emf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oleObject" Target="../embeddings/oleObject25.bin"/><Relationship Id="rId5" Type="http://schemas.openxmlformats.org/officeDocument/2006/relationships/image" Target="../media/image5.jpe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3.xml"/><Relationship Id="rId4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4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1.png"/><Relationship Id="rId7" Type="http://schemas.openxmlformats.org/officeDocument/2006/relationships/image" Target="../media/image15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5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Relationship Id="rId9" Type="http://schemas.openxmlformats.org/officeDocument/2006/relationships/image" Target="../media/image1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7.xml"/><Relationship Id="rId6" Type="http://schemas.openxmlformats.org/officeDocument/2006/relationships/image" Target="../media/image24.png"/><Relationship Id="rId11" Type="http://schemas.openxmlformats.org/officeDocument/2006/relationships/image" Target="../media/image29.jpeg"/><Relationship Id="rId5" Type="http://schemas.openxmlformats.org/officeDocument/2006/relationships/image" Target="../media/image23.png"/><Relationship Id="rId10" Type="http://schemas.openxmlformats.org/officeDocument/2006/relationships/image" Target="../media/image28.jpeg"/><Relationship Id="rId4" Type="http://schemas.openxmlformats.org/officeDocument/2006/relationships/image" Target="../media/image22.png"/><Relationship Id="rId9" Type="http://schemas.openxmlformats.org/officeDocument/2006/relationships/image" Target="../media/image2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8.xml"/><Relationship Id="rId4" Type="http://schemas.openxmlformats.org/officeDocument/2006/relationships/image" Target="../media/image3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9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0.xml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26691" b="37869"/>
          <a:stretch/>
        </p:blipFill>
        <p:spPr>
          <a:xfrm>
            <a:off x="-65315" y="-52958"/>
            <a:ext cx="12322629" cy="6963916"/>
          </a:xfrm>
          <a:prstGeom prst="rect">
            <a:avLst/>
          </a:prstGeom>
        </p:spPr>
      </p:pic>
      <p:sp>
        <p:nvSpPr>
          <p:cNvPr id="13" name="Rechteck 12"/>
          <p:cNvSpPr/>
          <p:nvPr/>
        </p:nvSpPr>
        <p:spPr>
          <a:xfrm>
            <a:off x="284905" y="2821005"/>
            <a:ext cx="4678982" cy="3798159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90000"/>
              </a:lnSpc>
            </a:pPr>
            <a:endParaRPr lang="de-AT" sz="1600" b="1" dirty="0">
              <a:solidFill>
                <a:schemeClr val="tx1"/>
              </a:solidFill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70" imgH="371" progId="TCLayout.ActiveDocument.1">
                  <p:embed/>
                </p:oleObj>
              </mc:Choice>
              <mc:Fallback>
                <p:oleObj name="think-cell Folie" r:id="rId6" imgW="370" imgH="371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0"/>
          <p:cNvSpPr>
            <a:spLocks noGrp="1"/>
          </p:cNvSpPr>
          <p:nvPr>
            <p:ph type="body" sz="quarter" idx="4294967295"/>
          </p:nvPr>
        </p:nvSpPr>
        <p:spPr>
          <a:xfrm>
            <a:off x="284903" y="2822611"/>
            <a:ext cx="5040313" cy="854039"/>
          </a:xfrm>
        </p:spPr>
        <p:txBody>
          <a:bodyPr lIns="288000" tIns="288000" rIns="288000" bIns="0"/>
          <a:lstStyle/>
          <a:p>
            <a:pPr>
              <a:spcAft>
                <a:spcPts val="0"/>
              </a:spcAft>
            </a:pPr>
            <a:r>
              <a:rPr lang="en-US" altLang="de-DE" sz="3200" dirty="0">
                <a:latin typeface="STIHL Contraface Display Title" pitchFamily="50" charset="0"/>
              </a:rPr>
              <a:t>STIHL MH 600.1</a:t>
            </a:r>
            <a:r>
              <a:rPr lang="sk-SK" altLang="de-DE" sz="3200" dirty="0">
                <a:latin typeface="STIHL Contraface Display Title" pitchFamily="50" charset="0"/>
              </a:rPr>
              <a:t> / 700.1</a:t>
            </a:r>
            <a:br>
              <a:rPr dirty="0"/>
            </a:br>
            <a:endParaRPr lang="en-US" sz="3200" dirty="0">
              <a:latin typeface="STIHL Contraface Display Title" pitchFamily="50" charset="0"/>
            </a:endParaRP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4294967295"/>
          </p:nvPr>
        </p:nvSpPr>
        <p:spPr>
          <a:xfrm>
            <a:off x="284902" y="4450556"/>
            <a:ext cx="5040313" cy="157163"/>
          </a:xfrm>
        </p:spPr>
        <p:txBody>
          <a:bodyPr lIns="288000"/>
          <a:lstStyle/>
          <a:p>
            <a:r>
              <a:rPr lang="sk-SK" sz="1600" dirty="0">
                <a:latin typeface="STIHL Contraface Text" panose="020B0503020202020102" pitchFamily="34" charset="0"/>
              </a:rPr>
              <a:t>Kultivátor pre poľnohospodárstvo a záhradníctvo</a:t>
            </a:r>
            <a:endParaRPr lang="en-US" sz="1600" dirty="0">
              <a:latin typeface="STIHL Contraface Text" panose="020B0503020202020102" pitchFamily="34" charset="0"/>
            </a:endParaRPr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4375" y="262636"/>
            <a:ext cx="1742645" cy="76183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748335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7" r="16379"/>
          <a:stretch/>
        </p:blipFill>
        <p:spPr>
          <a:xfrm>
            <a:off x="9205198" y="2017088"/>
            <a:ext cx="2958039" cy="3626207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TIHL Contraface Display Title" panose="02000600040000020004" pitchFamily="50" charset="0"/>
              </a:rPr>
              <a:t>STIHL MH 600.1</a:t>
            </a:r>
            <a:r>
              <a:rPr lang="sk-SK" dirty="0">
                <a:latin typeface="STIHL Contraface Display Title" panose="02000600040000020004" pitchFamily="50" charset="0"/>
              </a:rPr>
              <a:t> </a:t>
            </a:r>
            <a:r>
              <a:rPr lang="sk-SK" altLang="de-DE" sz="2400" dirty="0">
                <a:latin typeface="STIHL Contraface Display Title" pitchFamily="50" charset="0"/>
              </a:rPr>
              <a:t>/ 700.1</a:t>
            </a:r>
            <a:br>
              <a:rPr dirty="0"/>
            </a:br>
            <a:endParaRPr lang="en-US" dirty="0">
              <a:latin typeface="STIHL Contraface Display Title" panose="02000600040000020004" pitchFamily="50" charset="0"/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0323587"/>
              </p:ext>
            </p:extLst>
          </p:nvPr>
        </p:nvGraphicFramePr>
        <p:xfrm>
          <a:off x="471112" y="1604163"/>
          <a:ext cx="8840839" cy="13919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146608">
                  <a:extLst>
                    <a:ext uri="{9D8B030D-6E8A-4147-A177-3AD203B41FA5}">
                      <a16:colId xmlns:a16="http://schemas.microsoft.com/office/drawing/2014/main" val="2763950620"/>
                    </a:ext>
                  </a:extLst>
                </a:gridCol>
                <a:gridCol w="4694231">
                  <a:extLst>
                    <a:ext uri="{9D8B030D-6E8A-4147-A177-3AD203B41FA5}">
                      <a16:colId xmlns:a16="http://schemas.microsoft.com/office/drawing/2014/main" val="1741562044"/>
                    </a:ext>
                  </a:extLst>
                </a:gridCol>
              </a:tblGrid>
              <a:tr h="187237">
                <a:tc>
                  <a:txBody>
                    <a:bodyPr/>
                    <a:lstStyle/>
                    <a:p>
                      <a:pPr>
                        <a:defRPr/>
                      </a:pPr>
                      <a:endParaRPr lang="de-DE" dirty="0">
                        <a:latin typeface="STIHL Contraface Display Medium" panose="02000603040000020004" pitchFamily="50" charset="0"/>
                        <a:ea typeface="Arial" charset="0"/>
                        <a:cs typeface="Arial" charset="0"/>
                      </a:endParaRPr>
                    </a:p>
                  </a:txBody>
                  <a:tcPr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lvl="1">
                        <a:defRPr/>
                      </a:pPr>
                      <a:endParaRPr lang="de-DE" dirty="0">
                        <a:latin typeface="STIHL Contraface Display Medium" panose="02000603040000020004" pitchFamily="50" charset="0"/>
                        <a:ea typeface="Arial" charset="0"/>
                        <a:cs typeface="Arial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21122400"/>
                  </a:ext>
                </a:extLst>
              </a:tr>
              <a:tr h="187237">
                <a:tc>
                  <a:txBody>
                    <a:bodyPr/>
                    <a:lstStyle/>
                    <a:p>
                      <a:pPr marL="0" lvl="1">
                        <a:spcBef>
                          <a:spcPts val="700"/>
                        </a:spcBef>
                        <a:spcAft>
                          <a:spcPts val="400"/>
                        </a:spcAft>
                        <a:buClr>
                          <a:srgbClr val="FF7305"/>
                        </a:buClr>
                      </a:pPr>
                      <a:endParaRPr lang="de-DE" sz="1600" b="1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STIHL Contraface Text" panose="020B0503020202020102" pitchFamily="34" charset="0"/>
                        <a:cs typeface="Arial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lvl="2" indent="0">
                        <a:spcBef>
                          <a:spcPts val="700"/>
                        </a:spcBef>
                        <a:spcAft>
                          <a:spcPts val="400"/>
                        </a:spcAft>
                        <a:buClr>
                          <a:srgbClr val="FF7305"/>
                        </a:buClr>
                        <a:buFont typeface="Wingdings" charset="2"/>
                        <a:buNone/>
                        <a:defRPr/>
                      </a:pPr>
                      <a:endParaRPr lang="de-DE" sz="16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STIHL Contraface Text" panose="020B0503020202020102" pitchFamily="34" charset="0"/>
                        <a:cs typeface="Arial" charset="0"/>
                      </a:endParaRPr>
                    </a:p>
                    <a:p>
                      <a:pPr lvl="1">
                        <a:defRPr/>
                      </a:pPr>
                      <a:endParaRPr lang="de-DE" dirty="0">
                        <a:latin typeface="STIHL Contraface Display Medium" panose="02000603040000020004" pitchFamily="50" charset="0"/>
                        <a:ea typeface="Arial" charset="0"/>
                        <a:cs typeface="Arial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5337979"/>
                  </a:ext>
                </a:extLst>
              </a:tr>
              <a:tr h="187237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endParaRPr lang="de-AT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de-DE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6255185"/>
                  </a:ext>
                </a:extLst>
              </a:tr>
            </a:tbl>
          </a:graphicData>
        </a:graphic>
      </p:graphicFrame>
      <p:graphicFrame>
        <p:nvGraphicFramePr>
          <p:cNvPr id="12" name="Tabel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9391654"/>
              </p:ext>
            </p:extLst>
          </p:nvPr>
        </p:nvGraphicFramePr>
        <p:xfrm>
          <a:off x="479425" y="4310079"/>
          <a:ext cx="8832526" cy="72349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138295">
                  <a:extLst>
                    <a:ext uri="{9D8B030D-6E8A-4147-A177-3AD203B41FA5}">
                      <a16:colId xmlns:a16="http://schemas.microsoft.com/office/drawing/2014/main" val="2763950620"/>
                    </a:ext>
                  </a:extLst>
                </a:gridCol>
                <a:gridCol w="4694231">
                  <a:extLst>
                    <a:ext uri="{9D8B030D-6E8A-4147-A177-3AD203B41FA5}">
                      <a16:colId xmlns:a16="http://schemas.microsoft.com/office/drawing/2014/main" val="1741562044"/>
                    </a:ext>
                  </a:extLst>
                </a:gridCol>
              </a:tblGrid>
              <a:tr h="357730">
                <a:tc>
                  <a:txBody>
                    <a:bodyPr/>
                    <a:lstStyle/>
                    <a:p>
                      <a:pPr>
                        <a:defRPr/>
                      </a:pPr>
                      <a:endParaRPr lang="de-DE" dirty="0">
                        <a:latin typeface="STIHL Contraface Display Medium" panose="02000603040000020004" pitchFamily="50" charset="0"/>
                        <a:ea typeface="Arial" charset="0"/>
                        <a:cs typeface="Arial" charset="0"/>
                      </a:endParaRPr>
                    </a:p>
                  </a:txBody>
                  <a:tcPr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lvl="1">
                        <a:defRPr/>
                      </a:pPr>
                      <a:endParaRPr lang="de-DE" dirty="0">
                        <a:latin typeface="STIHL Contraface Display Medium" panose="02000603040000020004" pitchFamily="50" charset="0"/>
                        <a:ea typeface="Arial" charset="0"/>
                        <a:cs typeface="Arial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21122400"/>
                  </a:ext>
                </a:extLst>
              </a:tr>
              <a:tr h="357730">
                <a:tc>
                  <a:txBody>
                    <a:bodyPr/>
                    <a:lstStyle/>
                    <a:p>
                      <a:pPr marL="0" lvl="1" indent="0">
                        <a:spcBef>
                          <a:spcPts val="700"/>
                        </a:spcBef>
                        <a:spcAft>
                          <a:spcPts val="400"/>
                        </a:spcAft>
                        <a:buClr>
                          <a:srgbClr val="FF7305"/>
                        </a:buClr>
                        <a:buFont typeface="Wingdings" charset="2"/>
                        <a:buNone/>
                      </a:pPr>
                      <a:endParaRPr lang="de-DE" sz="16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STIHL Contraface Text" panose="020B0503020202020102" pitchFamily="34" charset="0"/>
                        <a:cs typeface="Arial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lvl="2" indent="0">
                        <a:spcBef>
                          <a:spcPts val="700"/>
                        </a:spcBef>
                        <a:spcAft>
                          <a:spcPts val="400"/>
                        </a:spcAft>
                        <a:buClr>
                          <a:srgbClr val="FF7305"/>
                        </a:buClr>
                        <a:buFont typeface="Wingdings" charset="2"/>
                        <a:buNone/>
                      </a:pPr>
                      <a:endParaRPr lang="de-DE" sz="1600" noProof="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STIHL Contraface Text" panose="020B0503020202020102" pitchFamily="34" charset="0"/>
                        <a:cs typeface="Arial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7809289"/>
                  </a:ext>
                </a:extLst>
              </a:tr>
            </a:tbl>
          </a:graphicData>
        </a:graphic>
      </p:graphicFrame>
      <p:cxnSp>
        <p:nvCxnSpPr>
          <p:cNvPr id="20" name="Gerader Verbinder 19"/>
          <p:cNvCxnSpPr/>
          <p:nvPr/>
        </p:nvCxnSpPr>
        <p:spPr>
          <a:xfrm flipH="1">
            <a:off x="4615042" y="2068362"/>
            <a:ext cx="2" cy="2124000"/>
          </a:xfrm>
          <a:prstGeom prst="lin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" name="Textfeld 1"/>
          <p:cNvSpPr txBox="1"/>
          <p:nvPr/>
        </p:nvSpPr>
        <p:spPr>
          <a:xfrm>
            <a:off x="565263" y="1675454"/>
            <a:ext cx="4049777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dirty="0" err="1">
                <a:solidFill>
                  <a:schemeClr val="bg1"/>
                </a:solidFill>
                <a:latin typeface="STIHL Contraface Display Medium" panose="02000603040000020004" pitchFamily="50" charset="0"/>
              </a:rPr>
              <a:t>Cieľová</a:t>
            </a:r>
            <a:r>
              <a:rPr lang="en-US" dirty="0">
                <a:solidFill>
                  <a:schemeClr val="bg1"/>
                </a:solidFill>
                <a:latin typeface="STIHL Contraface Display Medium" panose="02000603040000020004" pitchFamily="50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STIHL Contraface Display Medium" panose="02000603040000020004" pitchFamily="50" charset="0"/>
              </a:rPr>
              <a:t>skupina</a:t>
            </a:r>
            <a:r>
              <a:rPr lang="en-US" dirty="0">
                <a:solidFill>
                  <a:schemeClr val="bg1"/>
                </a:solidFill>
                <a:latin typeface="STIHL Contraface Display Medium" panose="02000603040000020004" pitchFamily="50" charset="0"/>
              </a:rPr>
              <a:t> a </a:t>
            </a:r>
            <a:r>
              <a:rPr lang="sk-SK" dirty="0">
                <a:solidFill>
                  <a:schemeClr val="bg1"/>
                </a:solidFill>
                <a:latin typeface="STIHL Contraface Display Medium" panose="02000603040000020004" pitchFamily="50" charset="0"/>
              </a:rPr>
              <a:t>použitie</a:t>
            </a:r>
            <a:endParaRPr lang="en-US" dirty="0">
              <a:solidFill>
                <a:schemeClr val="bg1"/>
              </a:solidFill>
              <a:latin typeface="STIHL Contraface Display Medium" panose="02000603040000020004" pitchFamily="50" charset="0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4815308" y="1670238"/>
            <a:ext cx="3538002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sk-SK" dirty="0">
                <a:solidFill>
                  <a:schemeClr val="bg1"/>
                </a:solidFill>
                <a:latin typeface="STIHL Contraface Display Medium" panose="02000603040000020004" pitchFamily="50" charset="0"/>
              </a:rPr>
              <a:t>Predajné argumenty</a:t>
            </a:r>
            <a:endParaRPr lang="en-US" dirty="0">
              <a:solidFill>
                <a:schemeClr val="bg1"/>
              </a:solidFill>
              <a:latin typeface="STIHL Contraface Display Medium" panose="02000603040000020004" pitchFamily="50" charset="0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560721" y="2017358"/>
            <a:ext cx="3773938" cy="22775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>
              <a:spcBef>
                <a:spcPts val="400"/>
              </a:spcBef>
              <a:buClr>
                <a:srgbClr val="FF7305"/>
              </a:buClr>
            </a:pPr>
            <a:r>
              <a:rPr lang="sk-SK" sz="1600" b="1" dirty="0">
                <a:latin typeface="STIHL Contraface Text" panose="020B0503020202020102" pitchFamily="34" charset="0"/>
              </a:rPr>
              <a:t>Hlavná cieľová skupina</a:t>
            </a:r>
            <a:endParaRPr lang="en-US" sz="1600" b="1" dirty="0">
              <a:latin typeface="STIHL Contraface Text" panose="020B0503020202020102" pitchFamily="34" charset="0"/>
            </a:endParaRPr>
          </a:p>
          <a:p>
            <a:pPr marL="223838" lvl="1" indent="-223838">
              <a:spcBef>
                <a:spcPts val="400"/>
              </a:spcBef>
              <a:buClr>
                <a:srgbClr val="FF7305"/>
              </a:buClr>
              <a:buFont typeface="Wingdings" charset="2"/>
              <a:buChar char="§"/>
            </a:pPr>
            <a:r>
              <a:rPr lang="sk-SK" sz="1600" dirty="0">
                <a:latin typeface="STIHL Contraface Text" panose="020B0503020202020102" pitchFamily="34" charset="0"/>
              </a:rPr>
              <a:t>Poľnohospodári ( poľnohospodárstvo a záhradníctvo)</a:t>
            </a:r>
            <a:endParaRPr lang="en-US" sz="1600" dirty="0">
              <a:latin typeface="STIHL Contraface Text" panose="020B0503020202020102" pitchFamily="34" charset="0"/>
              <a:cs typeface="Arial" charset="0"/>
            </a:endParaRPr>
          </a:p>
          <a:p>
            <a:pPr marL="223838" lvl="1" indent="-223838">
              <a:spcBef>
                <a:spcPts val="400"/>
              </a:spcBef>
              <a:buClr>
                <a:srgbClr val="FF7305"/>
              </a:buClr>
              <a:buFont typeface="Wingdings" charset="2"/>
              <a:buChar char="§"/>
            </a:pPr>
            <a:r>
              <a:rPr lang="sk-SK" sz="1600" dirty="0">
                <a:latin typeface="STIHL Contraface Text" panose="020B0503020202020102" pitchFamily="34" charset="0"/>
              </a:rPr>
              <a:t>Farmári </a:t>
            </a:r>
            <a:endParaRPr lang="en-US" sz="1600" dirty="0">
              <a:latin typeface="STIHL Contraface Text" panose="020B0503020202020102" pitchFamily="34" charset="0"/>
            </a:endParaRPr>
          </a:p>
          <a:p>
            <a:pPr marL="223838" lvl="1" indent="-223838">
              <a:spcBef>
                <a:spcPts val="400"/>
              </a:spcBef>
              <a:buClr>
                <a:srgbClr val="FF7305"/>
              </a:buClr>
              <a:buFont typeface="Wingdings" charset="2"/>
              <a:buChar char="§"/>
            </a:pPr>
            <a:r>
              <a:rPr lang="sk-SK" sz="1600" dirty="0">
                <a:latin typeface="STIHL Contraface Text" panose="020B0503020202020102" pitchFamily="34" charset="0"/>
              </a:rPr>
              <a:t>Požičovne</a:t>
            </a:r>
            <a:endParaRPr lang="en-US" sz="1100" dirty="0">
              <a:latin typeface="STIHL Contraface Text" panose="020B0503020202020102" pitchFamily="34" charset="0"/>
              <a:cs typeface="Arial" charset="0"/>
            </a:endParaRPr>
          </a:p>
          <a:p>
            <a:pPr marL="0" lvl="1">
              <a:spcBef>
                <a:spcPts val="400"/>
              </a:spcBef>
              <a:buClr>
                <a:srgbClr val="FF7305"/>
              </a:buClr>
            </a:pPr>
            <a:r>
              <a:rPr lang="sk-SK" sz="1600" b="1" dirty="0">
                <a:latin typeface="STIHL Contraface Text" panose="020B0503020202020102" pitchFamily="34" charset="0"/>
              </a:rPr>
              <a:t>Použitie </a:t>
            </a:r>
            <a:endParaRPr lang="en-US" sz="1600" b="1" dirty="0">
              <a:latin typeface="STIHL Contraface Text" panose="020B0503020202020102" pitchFamily="34" charset="0"/>
            </a:endParaRPr>
          </a:p>
          <a:p>
            <a:pPr marL="223838" lvl="1" indent="-223838">
              <a:spcBef>
                <a:spcPts val="400"/>
              </a:spcBef>
              <a:buClr>
                <a:srgbClr val="FF7305"/>
              </a:buClr>
              <a:buFont typeface="Wingdings" charset="2"/>
              <a:buChar char="§"/>
            </a:pPr>
            <a:r>
              <a:rPr lang="sk-SK" sz="1600" dirty="0">
                <a:latin typeface="STIHL Contraface Text" panose="020B0503020202020102" pitchFamily="34" charset="0"/>
              </a:rPr>
              <a:t>Všetky druhy pôdy/veľké plochy</a:t>
            </a:r>
            <a:endParaRPr lang="en-US" sz="1600" dirty="0">
              <a:latin typeface="STIHL Contraface Text" panose="020B0503020202020102" pitchFamily="34" charset="0"/>
            </a:endParaRPr>
          </a:p>
          <a:p>
            <a:pPr marL="223838" lvl="1" indent="-223838">
              <a:spcBef>
                <a:spcPts val="400"/>
              </a:spcBef>
              <a:buClr>
                <a:srgbClr val="FF7305"/>
              </a:buClr>
              <a:buFont typeface="Wingdings" charset="2"/>
              <a:buChar char="§"/>
            </a:pPr>
            <a:r>
              <a:rPr lang="sk-SK" sz="1600" dirty="0">
                <a:latin typeface="STIHL Contraface Text" panose="020B0503020202020102" pitchFamily="34" charset="0"/>
              </a:rPr>
              <a:t>Pre náročné práce</a:t>
            </a:r>
            <a:endParaRPr lang="en-US" sz="1600" dirty="0">
              <a:latin typeface="STIHL Contraface Text" panose="020B0503020202020102" pitchFamily="34" charset="0"/>
              <a:cs typeface="Arial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4799811" y="2017089"/>
            <a:ext cx="4405388" cy="19287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23838" lvl="1" indent="-223838">
              <a:spcBef>
                <a:spcPts val="400"/>
              </a:spcBef>
              <a:buClr>
                <a:srgbClr val="FF7305"/>
              </a:buClr>
              <a:buFont typeface="Wingdings" charset="2"/>
              <a:buChar char="§"/>
              <a:defRPr/>
            </a:pPr>
            <a:r>
              <a:rPr lang="en-US" sz="1600" dirty="0" err="1">
                <a:latin typeface="STIHL Contraface Text" panose="020B0503020202020102" pitchFamily="34" charset="0"/>
              </a:rPr>
              <a:t>Sklopné</a:t>
            </a:r>
            <a:r>
              <a:rPr lang="en-US" sz="1600" dirty="0">
                <a:latin typeface="STIHL Contraface Text" panose="020B0503020202020102" pitchFamily="34" charset="0"/>
              </a:rPr>
              <a:t> </a:t>
            </a:r>
            <a:r>
              <a:rPr lang="en-US" sz="1600" dirty="0" err="1">
                <a:latin typeface="STIHL Contraface Text" panose="020B0503020202020102" pitchFamily="34" charset="0"/>
              </a:rPr>
              <a:t>riadidlá</a:t>
            </a:r>
            <a:endParaRPr lang="sk-SK" sz="1600" dirty="0">
              <a:latin typeface="STIHL Contraface Text" panose="020B0503020202020102" pitchFamily="34" charset="0"/>
            </a:endParaRPr>
          </a:p>
          <a:p>
            <a:pPr marL="223838" lvl="1" indent="-223838">
              <a:spcBef>
                <a:spcPts val="400"/>
              </a:spcBef>
              <a:buClr>
                <a:srgbClr val="FF7305"/>
              </a:buClr>
              <a:buFont typeface="Wingdings" charset="2"/>
              <a:buChar char="§"/>
              <a:defRPr/>
            </a:pPr>
            <a:r>
              <a:rPr lang="sk-SK" sz="1600" dirty="0">
                <a:latin typeface="STIHL Contraface Text" panose="020B0503020202020102" pitchFamily="34" charset="0"/>
              </a:rPr>
              <a:t>Výškovo nastaviteľné transportné koleso s oceľovým ráfikom a kolesom z pevnej gumy </a:t>
            </a:r>
            <a:endParaRPr lang="en-US" sz="1600" dirty="0">
              <a:latin typeface="STIHL Contraface Text" panose="020B0503020202020102" pitchFamily="34" charset="0"/>
            </a:endParaRPr>
          </a:p>
          <a:p>
            <a:pPr marL="223838" lvl="1" indent="-223838">
              <a:spcBef>
                <a:spcPts val="400"/>
              </a:spcBef>
              <a:buClr>
                <a:srgbClr val="FF7305"/>
              </a:buClr>
              <a:buFont typeface="Wingdings" charset="2"/>
              <a:buChar char="§"/>
              <a:defRPr/>
            </a:pPr>
            <a:r>
              <a:rPr lang="sk-SK" sz="1600" dirty="0">
                <a:latin typeface="STIHL Contraface Text" panose="020B0503020202020102" pitchFamily="34" charset="0"/>
              </a:rPr>
              <a:t>Adaptér na praktickú prepravu nožov (príslušenstvo)</a:t>
            </a:r>
            <a:endParaRPr lang="en-US" sz="1600" dirty="0">
              <a:latin typeface="STIHL Contraface Text" panose="020B0503020202020102" pitchFamily="34" charset="0"/>
            </a:endParaRPr>
          </a:p>
          <a:p>
            <a:pPr marL="223838" lvl="1" indent="-223838">
              <a:spcBef>
                <a:spcPts val="400"/>
              </a:spcBef>
              <a:buClr>
                <a:srgbClr val="FF7305"/>
              </a:buClr>
              <a:buFont typeface="Wingdings" charset="2"/>
              <a:buChar char="§"/>
              <a:defRPr/>
            </a:pPr>
            <a:r>
              <a:rPr lang="sk-SK" sz="1600" dirty="0">
                <a:latin typeface="STIHL Contraface Text" panose="020B0503020202020102" pitchFamily="34" charset="0"/>
              </a:rPr>
              <a:t>Výkonný benzínový motor </a:t>
            </a:r>
            <a:endParaRPr lang="en-US" sz="1600" dirty="0">
              <a:latin typeface="STIHL Contraface Text" panose="020B0503020202020102" pitchFamily="34" charset="0"/>
            </a:endParaRPr>
          </a:p>
          <a:p>
            <a:pPr marL="223838" lvl="1" indent="-223838">
              <a:spcBef>
                <a:spcPts val="400"/>
              </a:spcBef>
              <a:buClr>
                <a:srgbClr val="FF7305"/>
              </a:buClr>
              <a:buFont typeface="Wingdings" charset="2"/>
              <a:buChar char="§"/>
              <a:defRPr/>
            </a:pPr>
            <a:r>
              <a:rPr lang="sk-SK" sz="1600" dirty="0">
                <a:latin typeface="STIHL Contraface Text" panose="020B0503020202020102" pitchFamily="34" charset="0"/>
              </a:rPr>
              <a:t>2 rýchlosti + spiatočka </a:t>
            </a:r>
            <a:endParaRPr lang="en-US" sz="1600" dirty="0">
              <a:latin typeface="STIHL Contraface Text" panose="020B0503020202020102" pitchFamily="34" charset="0"/>
              <a:cs typeface="Arial" charset="0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573576" y="4375835"/>
            <a:ext cx="3440640" cy="2517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r>
              <a:rPr lang="sk-SK" dirty="0">
                <a:solidFill>
                  <a:schemeClr val="bg1"/>
                </a:solidFill>
                <a:latin typeface="STIHL Contraface Display Medium" panose="02000603040000020004" pitchFamily="50" charset="0"/>
              </a:rPr>
              <a:t>Technické údaje</a:t>
            </a:r>
            <a:endParaRPr lang="en-US" dirty="0">
              <a:solidFill>
                <a:schemeClr val="bg1"/>
              </a:solidFill>
              <a:latin typeface="STIHL Contraface Display Medium" panose="02000603040000020004" pitchFamily="50" charset="0"/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600931" y="4719849"/>
            <a:ext cx="3500014" cy="14362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23838" lvl="1" indent="-223838">
              <a:spcBef>
                <a:spcPts val="400"/>
              </a:spcBef>
              <a:buClr>
                <a:srgbClr val="FF7305"/>
              </a:buClr>
              <a:buFont typeface="Wingdings" charset="2"/>
              <a:buChar char="§"/>
            </a:pPr>
            <a:r>
              <a:rPr lang="sk-SK" altLang="de-DE" sz="1600" dirty="0">
                <a:latin typeface="STIHL Contraface Text" panose="020B0503020202020102" pitchFamily="34" charset="0"/>
              </a:rPr>
              <a:t>benzínový motor </a:t>
            </a:r>
            <a:r>
              <a:rPr lang="en-US" altLang="de-DE" sz="1600" dirty="0">
                <a:latin typeface="STIHL Contraface Text" panose="020B0503020202020102" pitchFamily="34" charset="0"/>
              </a:rPr>
              <a:t>EHC 600</a:t>
            </a:r>
            <a:endParaRPr lang="en-US" sz="1600" dirty="0">
              <a:latin typeface="STIHL Contraface Text" panose="020B0503020202020102" pitchFamily="34" charset="0"/>
              <a:cs typeface="Arial" charset="0"/>
            </a:endParaRPr>
          </a:p>
          <a:p>
            <a:pPr marL="223838" lvl="1" indent="-223838">
              <a:spcBef>
                <a:spcPts val="400"/>
              </a:spcBef>
              <a:buClr>
                <a:srgbClr val="FF7305"/>
              </a:buClr>
              <a:buFont typeface="Wingdings" charset="2"/>
              <a:buChar char="§"/>
            </a:pPr>
            <a:r>
              <a:rPr lang="en-US" sz="1600" dirty="0">
                <a:latin typeface="STIHL Contraface Text" panose="020B0503020202020102" pitchFamily="34" charset="0"/>
              </a:rPr>
              <a:t>4.4 kW </a:t>
            </a:r>
            <a:r>
              <a:rPr lang="sk-SK" sz="1600" dirty="0">
                <a:latin typeface="STIHL Contraface Text" panose="020B0503020202020102" pitchFamily="34" charset="0"/>
              </a:rPr>
              <a:t>menovitý výkon </a:t>
            </a:r>
            <a:r>
              <a:rPr lang="en-US" sz="1600" dirty="0">
                <a:latin typeface="STIHL Contraface Text" panose="020B0503020202020102" pitchFamily="34" charset="0"/>
              </a:rPr>
              <a:t>(6.0 PS)</a:t>
            </a:r>
          </a:p>
          <a:p>
            <a:pPr marL="223838" lvl="1" indent="-223838">
              <a:spcBef>
                <a:spcPts val="400"/>
              </a:spcBef>
              <a:buClr>
                <a:srgbClr val="FF7305"/>
              </a:buClr>
              <a:buFont typeface="Wingdings" charset="2"/>
              <a:buChar char="§"/>
            </a:pPr>
            <a:r>
              <a:rPr lang="en-US" sz="1600" dirty="0">
                <a:latin typeface="STIHL Contraface Text" panose="020B0503020202020102" pitchFamily="34" charset="0"/>
              </a:rPr>
              <a:t>3.6 </a:t>
            </a:r>
            <a:r>
              <a:rPr lang="sk-SK" sz="1600" dirty="0">
                <a:latin typeface="STIHL Contraface Text" panose="020B0503020202020102" pitchFamily="34" charset="0"/>
              </a:rPr>
              <a:t>litrová palivová nádrž</a:t>
            </a:r>
            <a:endParaRPr lang="en-US" sz="1600" dirty="0">
              <a:latin typeface="STIHL Contraface Text" panose="020B0503020202020102" pitchFamily="34" charset="0"/>
            </a:endParaRPr>
          </a:p>
          <a:p>
            <a:pPr marL="223838" lvl="1" indent="-223838">
              <a:spcBef>
                <a:spcPts val="400"/>
              </a:spcBef>
              <a:buClr>
                <a:srgbClr val="FF7305"/>
              </a:buClr>
              <a:buFont typeface="Wingdings" charset="2"/>
              <a:buChar char="§"/>
            </a:pPr>
            <a:r>
              <a:rPr lang="sk-SK" sz="1600" dirty="0">
                <a:latin typeface="STIHL Contraface Text" panose="020B0503020202020102" pitchFamily="34" charset="0"/>
              </a:rPr>
              <a:t>Olejový filter </a:t>
            </a:r>
            <a:endParaRPr lang="en-US" sz="1600" dirty="0">
              <a:latin typeface="STIHL Contraface Text" panose="020B0503020202020102" pitchFamily="34" charset="0"/>
            </a:endParaRPr>
          </a:p>
          <a:p>
            <a:pPr marL="223838" lvl="1" indent="-223838">
              <a:spcBef>
                <a:spcPts val="400"/>
              </a:spcBef>
              <a:buClr>
                <a:srgbClr val="FF7305"/>
              </a:buClr>
              <a:buFont typeface="Wingdings" charset="2"/>
              <a:buChar char="§"/>
            </a:pPr>
            <a:r>
              <a:rPr lang="sk-SK" sz="1600" dirty="0">
                <a:latin typeface="STIHL Contraface Text" panose="020B0503020202020102" pitchFamily="34" charset="0"/>
              </a:rPr>
              <a:t>Pracovná šírka </a:t>
            </a:r>
            <a:r>
              <a:rPr lang="en-US" sz="1600" dirty="0">
                <a:latin typeface="STIHL Contraface Text" panose="020B0503020202020102" pitchFamily="34" charset="0"/>
              </a:rPr>
              <a:t>78 cm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4799811" y="4375835"/>
            <a:ext cx="2727646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dirty="0" err="1">
                <a:solidFill>
                  <a:schemeClr val="bg1"/>
                </a:solidFill>
                <a:latin typeface="STIHL Contraface Display Medium" panose="02000603040000020004" pitchFamily="50" charset="0"/>
              </a:rPr>
              <a:t>Výhody</a:t>
            </a:r>
            <a:r>
              <a:rPr lang="en-US" dirty="0">
                <a:solidFill>
                  <a:schemeClr val="bg1"/>
                </a:solidFill>
                <a:latin typeface="STIHL Contraface Display Medium" panose="02000603040000020004" pitchFamily="50" charset="0"/>
              </a:rPr>
              <a:t> pre </a:t>
            </a:r>
            <a:r>
              <a:rPr lang="en-US" dirty="0" err="1">
                <a:solidFill>
                  <a:schemeClr val="bg1"/>
                </a:solidFill>
                <a:latin typeface="STIHL Contraface Display Medium" panose="02000603040000020004" pitchFamily="50" charset="0"/>
              </a:rPr>
              <a:t>zákazníkov</a:t>
            </a:r>
            <a:endParaRPr lang="en-US" dirty="0">
              <a:solidFill>
                <a:schemeClr val="bg1"/>
              </a:solidFill>
              <a:latin typeface="STIHL Contraface Display Medium" panose="02000603040000020004" pitchFamily="50" charset="0"/>
            </a:endParaRPr>
          </a:p>
        </p:txBody>
      </p:sp>
      <p:sp>
        <p:nvSpPr>
          <p:cNvPr id="28" name="Textfeld 27"/>
          <p:cNvSpPr txBox="1"/>
          <p:nvPr/>
        </p:nvSpPr>
        <p:spPr>
          <a:xfrm>
            <a:off x="4815308" y="4719849"/>
            <a:ext cx="4389889" cy="16312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23838" lvl="1" indent="-223838">
              <a:spcBef>
                <a:spcPts val="400"/>
              </a:spcBef>
              <a:buClr>
                <a:srgbClr val="FF7305"/>
              </a:buClr>
              <a:buFont typeface="Wingdings" charset="2"/>
              <a:buChar char="§"/>
            </a:pPr>
            <a:r>
              <a:rPr lang="sk-SK" sz="1600" dirty="0">
                <a:latin typeface="STIHL Contraface Text" panose="020B0503020202020102" pitchFamily="34" charset="0"/>
              </a:rPr>
              <a:t>Zjednodušená preprava </a:t>
            </a:r>
            <a:endParaRPr lang="en-US" sz="1600" dirty="0">
              <a:latin typeface="STIHL Contraface Text" panose="020B0503020202020102" pitchFamily="34" charset="0"/>
            </a:endParaRPr>
          </a:p>
          <a:p>
            <a:pPr marL="223838" lvl="1" indent="-223838">
              <a:spcBef>
                <a:spcPts val="400"/>
              </a:spcBef>
              <a:buClr>
                <a:srgbClr val="FF7305"/>
              </a:buClr>
              <a:buFont typeface="Wingdings" charset="2"/>
              <a:buChar char="§"/>
            </a:pPr>
            <a:r>
              <a:rPr lang="sk-SK" sz="1600" dirty="0">
                <a:latin typeface="STIHL Contraface Text" panose="020B0503020202020102" pitchFamily="34" charset="0"/>
              </a:rPr>
              <a:t>Vysoký výkon pre náročné aplikácie </a:t>
            </a:r>
            <a:endParaRPr lang="en-US" sz="1600" dirty="0">
              <a:latin typeface="STIHL Contraface Text" panose="020B0503020202020102" pitchFamily="34" charset="0"/>
            </a:endParaRPr>
          </a:p>
          <a:p>
            <a:pPr marL="223838" lvl="1" indent="-223838">
              <a:spcBef>
                <a:spcPts val="400"/>
              </a:spcBef>
              <a:buClr>
                <a:srgbClr val="FF7305"/>
              </a:buClr>
              <a:buFont typeface="Wingdings" charset="2"/>
              <a:buChar char="§"/>
            </a:pPr>
            <a:r>
              <a:rPr lang="sk-SK" sz="1600" dirty="0"/>
              <a:t>Pracovná výška a šírka riadidiel individuálne nastaviteľná </a:t>
            </a:r>
            <a:endParaRPr lang="en-US" sz="1600" dirty="0">
              <a:latin typeface="STIHL Contraface Text" panose="020B0503020202020102" pitchFamily="34" charset="0"/>
              <a:cs typeface="Arial" charset="0"/>
            </a:endParaRPr>
          </a:p>
          <a:p>
            <a:pPr marL="223838" lvl="1" indent="-223838">
              <a:spcBef>
                <a:spcPts val="400"/>
              </a:spcBef>
              <a:buClr>
                <a:srgbClr val="FF7305"/>
              </a:buClr>
              <a:buFont typeface="Wingdings" charset="2"/>
              <a:buChar char="§"/>
            </a:pPr>
            <a:r>
              <a:rPr lang="sk-SK" sz="1600" dirty="0">
                <a:latin typeface="STIHL Contraface Text" panose="020B0503020202020102" pitchFamily="34" charset="0"/>
              </a:rPr>
              <a:t>Opakovane použiteľný olejový filter – jednoduchá údržba</a:t>
            </a:r>
            <a:endParaRPr lang="en-US" sz="1600" dirty="0">
              <a:latin typeface="STIHL Contraface Text" panose="020B0503020202020102" pitchFamily="34" charset="0"/>
            </a:endParaRPr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479427" y="1131112"/>
            <a:ext cx="11233147" cy="249299"/>
          </a:xfrm>
        </p:spPr>
        <p:txBody>
          <a:bodyPr/>
          <a:lstStyle/>
          <a:p>
            <a:r>
              <a:rPr lang="en-US" dirty="0" err="1">
                <a:latin typeface="STIHL Contraface Text Demi" panose="020B0703020202020102" pitchFamily="34" charset="0"/>
              </a:rPr>
              <a:t>Kultivátor</a:t>
            </a:r>
            <a:r>
              <a:rPr lang="en-US" dirty="0">
                <a:latin typeface="STIHL Contraface Text Demi" panose="020B0703020202020102" pitchFamily="34" charset="0"/>
              </a:rPr>
              <a:t> pre </a:t>
            </a:r>
            <a:r>
              <a:rPr lang="en-US" dirty="0" err="1">
                <a:latin typeface="STIHL Contraface Text Demi" panose="020B0703020202020102" pitchFamily="34" charset="0"/>
              </a:rPr>
              <a:t>poľnohospodárstvo</a:t>
            </a:r>
            <a:r>
              <a:rPr lang="en-US" dirty="0">
                <a:latin typeface="STIHL Contraface Text Demi" panose="020B0703020202020102" pitchFamily="34" charset="0"/>
              </a:rPr>
              <a:t> a </a:t>
            </a:r>
            <a:r>
              <a:rPr lang="en-US" dirty="0" err="1">
                <a:latin typeface="STIHL Contraface Text Demi" panose="020B0703020202020102" pitchFamily="34" charset="0"/>
              </a:rPr>
              <a:t>záhradníctvo</a:t>
            </a:r>
            <a:endParaRPr lang="en-US" dirty="0">
              <a:latin typeface="STIHL Contraface Text Demi" panose="020B0703020202020102" pitchFamily="34" charset="0"/>
            </a:endParaRPr>
          </a:p>
        </p:txBody>
      </p:sp>
      <p:cxnSp>
        <p:nvCxnSpPr>
          <p:cNvPr id="22" name="Gerader Verbinder 21"/>
          <p:cNvCxnSpPr/>
          <p:nvPr/>
        </p:nvCxnSpPr>
        <p:spPr>
          <a:xfrm flipH="1">
            <a:off x="4615042" y="4775875"/>
            <a:ext cx="2" cy="1476000"/>
          </a:xfrm>
          <a:prstGeom prst="line">
            <a:avLst/>
          </a:prstGeom>
          <a:ln w="1905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3" name="Rechteck 22"/>
          <p:cNvSpPr/>
          <p:nvPr/>
        </p:nvSpPr>
        <p:spPr>
          <a:xfrm>
            <a:off x="9567636" y="2278895"/>
            <a:ext cx="11040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k-SK" b="1" dirty="0">
                <a:solidFill>
                  <a:schemeClr val="accent2"/>
                </a:solidFill>
                <a:latin typeface="STIHL Contraface Display Title" panose="02000600040000020004" pitchFamily="50" charset="0"/>
              </a:rPr>
              <a:t>NOVINKA</a:t>
            </a:r>
            <a:endParaRPr lang="en-US" dirty="0">
              <a:solidFill>
                <a:schemeClr val="accent2"/>
              </a:solidFill>
              <a:latin typeface="STIHL Contraface Display Title" panose="02000600040000020004" pitchFamily="50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140312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TIHL Contraface Display Title" panose="02000600040000020004" pitchFamily="50" charset="0"/>
              </a:rPr>
              <a:t>STIHL MH 600 vs. MH 600.1</a:t>
            </a:r>
            <a:br>
              <a:rPr dirty="0"/>
            </a:br>
            <a:endParaRPr lang="en-US" dirty="0">
              <a:latin typeface="STIHL Contraface Display Title" panose="02000600040000020004" pitchFamily="50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479426" y="1994275"/>
            <a:ext cx="4092574" cy="13901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23838" lvl="1" indent="-223838">
              <a:spcBef>
                <a:spcPts val="700"/>
              </a:spcBef>
              <a:spcAft>
                <a:spcPts val="400"/>
              </a:spcAft>
              <a:buClr>
                <a:srgbClr val="FF7305"/>
              </a:buClr>
              <a:buFont typeface="Wingdings" charset="2"/>
              <a:buChar char="§"/>
            </a:pPr>
            <a:r>
              <a:rPr lang="sk-SK" dirty="0">
                <a:latin typeface="STIHL Contraface Text" panose="020B0503020202020102" pitchFamily="34" charset="0"/>
              </a:rPr>
              <a:t>Centrálne nastaviteľné riadidlá </a:t>
            </a:r>
            <a:endParaRPr lang="en-US" dirty="0">
              <a:latin typeface="STIHL Contraface Text" panose="020B0503020202020102" pitchFamily="34" charset="0"/>
            </a:endParaRPr>
          </a:p>
          <a:p>
            <a:pPr marL="223838" lvl="1" indent="-223838">
              <a:spcBef>
                <a:spcPts val="700"/>
              </a:spcBef>
              <a:spcAft>
                <a:spcPts val="400"/>
              </a:spcAft>
              <a:buClr>
                <a:srgbClr val="FF7305"/>
              </a:buClr>
              <a:buFont typeface="Wingdings" charset="2"/>
              <a:buChar char="§"/>
            </a:pPr>
            <a:r>
              <a:rPr lang="sk-SK" dirty="0">
                <a:latin typeface="STIHL Contraface Text" panose="020B0503020202020102" pitchFamily="34" charset="0"/>
              </a:rPr>
              <a:t>Predné plastové prepravné koleso</a:t>
            </a:r>
            <a:endParaRPr lang="en-US" dirty="0">
              <a:latin typeface="STIHL Contraface Text" panose="020B0503020202020102" pitchFamily="34" charset="0"/>
            </a:endParaRPr>
          </a:p>
          <a:p>
            <a:pPr marL="223838" lvl="1" indent="-223838">
              <a:spcBef>
                <a:spcPts val="700"/>
              </a:spcBef>
              <a:spcAft>
                <a:spcPts val="400"/>
              </a:spcAft>
              <a:buClr>
                <a:srgbClr val="FF7305"/>
              </a:buClr>
              <a:buFont typeface="Wingdings" charset="2"/>
              <a:buChar char="§"/>
            </a:pPr>
            <a:r>
              <a:rPr lang="sk-SK" dirty="0">
                <a:latin typeface="STIHL Contraface Text" panose="020B0503020202020102" pitchFamily="34" charset="0"/>
              </a:rPr>
              <a:t>Otočná, výškovo nastaviteľná brzdová ostroha</a:t>
            </a:r>
            <a:endParaRPr lang="en-US" dirty="0">
              <a:latin typeface="STIHL Contraface Text" panose="020B0503020202020102" pitchFamily="34" charset="0"/>
              <a:cs typeface="Arial" charset="0"/>
            </a:endParaRP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479427" y="1131112"/>
            <a:ext cx="11233147" cy="249299"/>
          </a:xfrm>
        </p:spPr>
        <p:txBody>
          <a:bodyPr/>
          <a:lstStyle/>
          <a:p>
            <a:r>
              <a:rPr lang="sk-SK" dirty="0">
                <a:latin typeface="STIHL Contraface Text Demi" panose="020B0703020202020102" pitchFamily="34" charset="0"/>
              </a:rPr>
              <a:t>Úpravy </a:t>
            </a:r>
            <a:endParaRPr lang="en-US" dirty="0">
              <a:latin typeface="STIHL Contraface Text Demi" panose="020B0703020202020102" pitchFamily="34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479426" y="1596024"/>
            <a:ext cx="3005050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sk-SK" b="1" dirty="0">
                <a:solidFill>
                  <a:schemeClr val="accent2"/>
                </a:solidFill>
                <a:latin typeface="STIHL Contraface Display Title" panose="02000600040000020004" pitchFamily="50" charset="0"/>
              </a:rPr>
              <a:t>Predchádzajúci</a:t>
            </a:r>
            <a:r>
              <a:rPr lang="en-US" b="1" dirty="0">
                <a:solidFill>
                  <a:schemeClr val="accent2"/>
                </a:solidFill>
                <a:latin typeface="STIHL Contraface Display Title" panose="02000600040000020004" pitchFamily="50" charset="0"/>
              </a:rPr>
              <a:t>: </a:t>
            </a:r>
            <a:endParaRPr lang="en-US" dirty="0"/>
          </a:p>
        </p:txBody>
      </p:sp>
      <p:sp>
        <p:nvSpPr>
          <p:cNvPr id="16" name="Textfeld 15"/>
          <p:cNvSpPr txBox="1"/>
          <p:nvPr/>
        </p:nvSpPr>
        <p:spPr>
          <a:xfrm>
            <a:off x="5357048" y="1596024"/>
            <a:ext cx="3623441" cy="2492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b="1" dirty="0">
                <a:solidFill>
                  <a:schemeClr val="accent2"/>
                </a:solidFill>
                <a:latin typeface="STIHL Contraface Display Title" panose="02000600040000020004" pitchFamily="50" charset="0"/>
              </a:rPr>
              <a:t>N</a:t>
            </a:r>
            <a:r>
              <a:rPr lang="sk-SK" b="1" dirty="0" err="1">
                <a:solidFill>
                  <a:schemeClr val="accent2"/>
                </a:solidFill>
                <a:latin typeface="STIHL Contraface Display Title" panose="02000600040000020004" pitchFamily="50" charset="0"/>
              </a:rPr>
              <a:t>ový</a:t>
            </a:r>
            <a:r>
              <a:rPr lang="en-US" b="1" dirty="0">
                <a:solidFill>
                  <a:schemeClr val="accent2"/>
                </a:solidFill>
                <a:latin typeface="STIHL Contraface Display Title" panose="02000600040000020004" pitchFamily="50" charset="0"/>
              </a:rPr>
              <a:t>: </a:t>
            </a:r>
            <a:endParaRPr lang="en-US" dirty="0"/>
          </a:p>
        </p:txBody>
      </p:sp>
      <p:cxnSp>
        <p:nvCxnSpPr>
          <p:cNvPr id="18" name="Gerader Verbinder 17"/>
          <p:cNvCxnSpPr/>
          <p:nvPr/>
        </p:nvCxnSpPr>
        <p:spPr>
          <a:xfrm>
            <a:off x="5043060" y="1603375"/>
            <a:ext cx="0" cy="4613734"/>
          </a:xfrm>
          <a:prstGeom prst="line">
            <a:avLst/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" name="Rechteck 1"/>
          <p:cNvSpPr/>
          <p:nvPr/>
        </p:nvSpPr>
        <p:spPr>
          <a:xfrm>
            <a:off x="5357048" y="1994363"/>
            <a:ext cx="6113694" cy="16671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23838" lvl="1" indent="-223838">
              <a:spcBef>
                <a:spcPts val="700"/>
              </a:spcBef>
              <a:spcAft>
                <a:spcPts val="400"/>
              </a:spcAft>
              <a:buClr>
                <a:srgbClr val="FF7305"/>
              </a:buClr>
              <a:buFont typeface="Wingdings" charset="2"/>
              <a:buChar char="§"/>
            </a:pPr>
            <a:r>
              <a:rPr lang="sk-SK" dirty="0">
                <a:latin typeface="STIHL Contraface Text" panose="020B0503020202020102" pitchFamily="34" charset="0"/>
              </a:rPr>
              <a:t>Sklopné, výškovo nastaviteľné riadidlá</a:t>
            </a:r>
            <a:endParaRPr lang="en-US" dirty="0">
              <a:latin typeface="STIHL Contraface Text" panose="020B0503020202020102" pitchFamily="34" charset="0"/>
            </a:endParaRPr>
          </a:p>
          <a:p>
            <a:pPr marL="223838" lvl="1" indent="-223838">
              <a:spcBef>
                <a:spcPts val="700"/>
              </a:spcBef>
              <a:spcAft>
                <a:spcPts val="400"/>
              </a:spcAft>
              <a:buClr>
                <a:srgbClr val="FF7305"/>
              </a:buClr>
              <a:buFont typeface="Wingdings" charset="2"/>
              <a:buChar char="§"/>
            </a:pPr>
            <a:r>
              <a:rPr lang="sk-SK" dirty="0">
                <a:latin typeface="STIHL Contraface Text" panose="020B0503020202020102" pitchFamily="34" charset="0"/>
              </a:rPr>
              <a:t>Výškovo nastaviteľné predné transportné koleso s oceľovým ráfikom a pneumatikou z pevnej gumy</a:t>
            </a:r>
            <a:endParaRPr lang="en-US" dirty="0">
              <a:latin typeface="STIHL Contraface Text" panose="020B0503020202020102" pitchFamily="34" charset="0"/>
            </a:endParaRPr>
          </a:p>
          <a:p>
            <a:pPr marL="223838" lvl="1" indent="-223838">
              <a:spcBef>
                <a:spcPts val="700"/>
              </a:spcBef>
              <a:spcAft>
                <a:spcPts val="400"/>
              </a:spcAft>
              <a:buClr>
                <a:srgbClr val="FF7305"/>
              </a:buClr>
              <a:buFont typeface="Wingdings" charset="2"/>
              <a:buChar char="§"/>
            </a:pPr>
            <a:r>
              <a:rPr lang="sk-SK" dirty="0">
                <a:latin typeface="STIHL Contraface Text" panose="020B0503020202020102" pitchFamily="34" charset="0"/>
              </a:rPr>
              <a:t>Robustná, výškovo nastaviteľná brzdová ostroha s praktickými transportnými adaptérmi na prepravu nožov (príslušenstvo) </a:t>
            </a:r>
            <a:endParaRPr lang="en-US" dirty="0">
              <a:latin typeface="STIHL Contraface Text" panose="020B0503020202020102" pitchFamily="34" charset="0"/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06" r="5941" b="3531"/>
          <a:stretch/>
        </p:blipFill>
        <p:spPr>
          <a:xfrm>
            <a:off x="1035243" y="3524548"/>
            <a:ext cx="2980939" cy="2800444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8878" y="4241014"/>
            <a:ext cx="2963549" cy="1976095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73" t="18694" r="21659"/>
          <a:stretch/>
        </p:blipFill>
        <p:spPr>
          <a:xfrm>
            <a:off x="9118244" y="3861742"/>
            <a:ext cx="2291296" cy="257073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07224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17751" y="-593977"/>
            <a:ext cx="1010590" cy="428347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TIHL Contraface Display Title" panose="02000600040000020004" pitchFamily="50" charset="0"/>
              </a:rPr>
              <a:t>STIHL MH 600.1</a:t>
            </a:r>
            <a:r>
              <a:rPr lang="sk-SK" altLang="de-DE" sz="2400" dirty="0">
                <a:latin typeface="STIHL Contraface Display Title" pitchFamily="50" charset="0"/>
              </a:rPr>
              <a:t> / 700.1</a:t>
            </a:r>
            <a:br>
              <a:rPr dirty="0"/>
            </a:br>
            <a:endParaRPr lang="en-US" dirty="0">
              <a:latin typeface="STIHL Contraface Display Title" panose="02000600040000020004" pitchFamily="50" charset="0"/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>
                <a:latin typeface="STIHL Contraface Text Demi" panose="020B0703020202020102" pitchFamily="34" charset="0"/>
              </a:rPr>
              <a:t>Kultivátor</a:t>
            </a:r>
            <a:r>
              <a:rPr lang="en-US" dirty="0">
                <a:latin typeface="STIHL Contraface Text Demi" panose="020B0703020202020102" pitchFamily="34" charset="0"/>
              </a:rPr>
              <a:t> pre </a:t>
            </a:r>
            <a:r>
              <a:rPr lang="en-US" dirty="0" err="1">
                <a:latin typeface="STIHL Contraface Text Demi" panose="020B0703020202020102" pitchFamily="34" charset="0"/>
              </a:rPr>
              <a:t>poľnohospodárstvo</a:t>
            </a:r>
            <a:r>
              <a:rPr lang="en-US" dirty="0">
                <a:latin typeface="STIHL Contraface Text Demi" panose="020B0703020202020102" pitchFamily="34" charset="0"/>
              </a:rPr>
              <a:t> a </a:t>
            </a:r>
            <a:r>
              <a:rPr lang="en-US" dirty="0" err="1">
                <a:latin typeface="STIHL Contraface Text Demi" panose="020B0703020202020102" pitchFamily="34" charset="0"/>
              </a:rPr>
              <a:t>záhradníctvo</a:t>
            </a:r>
            <a:endParaRPr lang="en-US" dirty="0">
              <a:latin typeface="STIHL Contraface Text Demi" panose="020B0703020202020102" pitchFamily="34" charset="0"/>
            </a:endParaRPr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8571" y="-721704"/>
            <a:ext cx="470427" cy="470427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26" y="1605306"/>
            <a:ext cx="3563303" cy="2376000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26" y="4077448"/>
            <a:ext cx="3563303" cy="237600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4657" y="4078775"/>
            <a:ext cx="3563303" cy="237600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4657" y="1605306"/>
            <a:ext cx="3563303" cy="237600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46" r="10127"/>
          <a:stretch/>
        </p:blipFill>
        <p:spPr>
          <a:xfrm>
            <a:off x="8060668" y="1606633"/>
            <a:ext cx="3802251" cy="484814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776546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STIHL Contraface Display Title" panose="02000600040000020004" pitchFamily="50" charset="0"/>
              </a:rPr>
              <a:t>STIHL MH 600.1</a:t>
            </a:r>
            <a:r>
              <a:rPr lang="sk-SK" altLang="de-DE" sz="2400" dirty="0">
                <a:latin typeface="STIHL Contraface Display Title" pitchFamily="50" charset="0"/>
              </a:rPr>
              <a:t> / 700.1</a:t>
            </a:r>
            <a:br>
              <a:rPr dirty="0"/>
            </a:br>
            <a:endParaRPr lang="en-US" dirty="0">
              <a:latin typeface="STIHL Contraface Display Title" panose="02000600040000020004" pitchFamily="50" charset="0"/>
            </a:endParaRPr>
          </a:p>
        </p:txBody>
      </p:sp>
      <p:graphicFrame>
        <p:nvGraphicFramePr>
          <p:cNvPr id="12" name="Tabel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5710804"/>
              </p:ext>
            </p:extLst>
          </p:nvPr>
        </p:nvGraphicFramePr>
        <p:xfrm>
          <a:off x="477838" y="1603375"/>
          <a:ext cx="11234736" cy="11430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617368">
                  <a:extLst>
                    <a:ext uri="{9D8B030D-6E8A-4147-A177-3AD203B41FA5}">
                      <a16:colId xmlns:a16="http://schemas.microsoft.com/office/drawing/2014/main" val="2763950620"/>
                    </a:ext>
                  </a:extLst>
                </a:gridCol>
                <a:gridCol w="5617368">
                  <a:extLst>
                    <a:ext uri="{9D8B030D-6E8A-4147-A177-3AD203B41FA5}">
                      <a16:colId xmlns:a16="http://schemas.microsoft.com/office/drawing/2014/main" val="3811944281"/>
                    </a:ext>
                  </a:extLst>
                </a:gridCol>
              </a:tblGrid>
              <a:tr h="361522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sk-SK" dirty="0">
                          <a:latin typeface="STIHL Contraface Display Medium" panose="02000603040000020004" pitchFamily="50" charset="0"/>
                        </a:rPr>
                        <a:t>Prednosti </a:t>
                      </a:r>
                      <a:endParaRPr lang="en-US" dirty="0">
                        <a:latin typeface="STIHL Contraface Display Medium" panose="02000603040000020004" pitchFamily="50" charset="0"/>
                        <a:ea typeface="Arial" charset="0"/>
                        <a:cs typeface="Arial" charset="0"/>
                      </a:endParaRPr>
                    </a:p>
                  </a:txBody>
                  <a:tcPr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en-US" dirty="0" err="1">
                          <a:latin typeface="STIHL Contraface Display Medium" panose="02000603040000020004" pitchFamily="50" charset="0"/>
                        </a:rPr>
                        <a:t>Výhody</a:t>
                      </a:r>
                      <a:endParaRPr lang="en-US" dirty="0">
                        <a:latin typeface="STIHL Contraface Display Medium" panose="02000603040000020004" pitchFamily="50" charset="0"/>
                        <a:ea typeface="Arial" charset="0"/>
                        <a:cs typeface="Arial" charset="0"/>
                      </a:endParaRPr>
                    </a:p>
                  </a:txBody>
                  <a:tcPr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21122400"/>
                  </a:ext>
                </a:extLst>
              </a:tr>
              <a:tr h="768234">
                <a:tc>
                  <a:txBody>
                    <a:bodyPr/>
                    <a:lstStyle/>
                    <a:p>
                      <a:pPr marL="0" indent="0">
                        <a:lnSpc>
                          <a:spcPct val="150000"/>
                        </a:lnSpc>
                        <a:buClr>
                          <a:schemeClr val="accent2"/>
                        </a:buClr>
                        <a:buFont typeface="Wingdings" panose="05000000000000000000" pitchFamily="2" charset="2"/>
                        <a:buNone/>
                      </a:pPr>
                      <a:endParaRPr lang="de-DE" dirty="0"/>
                    </a:p>
                    <a:p>
                      <a:pPr>
                        <a:defRPr/>
                      </a:pPr>
                      <a:endParaRPr lang="de-DE" dirty="0">
                        <a:latin typeface="STIHL Contraface Display Medium" panose="02000603040000020004" pitchFamily="50" charset="0"/>
                        <a:ea typeface="Arial" charset="0"/>
                        <a:cs typeface="Arial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457200" lvl="1" indent="0">
                        <a:lnSpc>
                          <a:spcPct val="150000"/>
                        </a:lnSpc>
                        <a:spcBef>
                          <a:spcPct val="0"/>
                        </a:spcBef>
                        <a:buClr>
                          <a:schemeClr val="accent2"/>
                        </a:buClr>
                        <a:buFont typeface="Wingdings" panose="05000000000000000000" pitchFamily="2" charset="2"/>
                        <a:buNone/>
                        <a:defRPr/>
                      </a:pPr>
                      <a:endParaRPr lang="de-DE" dirty="0"/>
                    </a:p>
                    <a:p>
                      <a:pPr>
                        <a:defRPr/>
                      </a:pPr>
                      <a:endParaRPr lang="de-DE" dirty="0">
                        <a:latin typeface="STIHL Contraface Display Medium" panose="02000603040000020004" pitchFamily="50" charset="0"/>
                        <a:ea typeface="Arial" charset="0"/>
                        <a:cs typeface="Arial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8101309"/>
                  </a:ext>
                </a:extLst>
              </a:tr>
            </a:tbl>
          </a:graphicData>
        </a:graphic>
      </p:graphicFrame>
      <p:sp>
        <p:nvSpPr>
          <p:cNvPr id="23" name="Textfeld 22"/>
          <p:cNvSpPr txBox="1"/>
          <p:nvPr/>
        </p:nvSpPr>
        <p:spPr>
          <a:xfrm>
            <a:off x="571007" y="2025999"/>
            <a:ext cx="5326079" cy="13131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sk-SK" dirty="0"/>
              <a:t>Sklopiteľná rukoväť</a:t>
            </a:r>
            <a:endParaRPr lang="en-US" dirty="0"/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sk-SK" dirty="0"/>
              <a:t>Výškovo nastaviteľné predné transportné koleso s oceľovým ráfikom a pneumatikami z pevnej gumy </a:t>
            </a:r>
            <a:endParaRPr lang="en-US" dirty="0"/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sk-SK" dirty="0"/>
              <a:t>Brzdová ostroha s montážou pre transportný adaptér</a:t>
            </a:r>
            <a:endParaRPr lang="en-US" dirty="0"/>
          </a:p>
        </p:txBody>
      </p:sp>
      <p:sp>
        <p:nvSpPr>
          <p:cNvPr id="24" name="Textfeld 23"/>
          <p:cNvSpPr txBox="1"/>
          <p:nvPr/>
        </p:nvSpPr>
        <p:spPr>
          <a:xfrm>
            <a:off x="6195620" y="2025999"/>
            <a:ext cx="5021154" cy="15901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/>
            </a:pPr>
            <a:r>
              <a:rPr lang="sk-SK" dirty="0"/>
              <a:t>Úspora miesta pri skladovaní, jednoduchá preprava</a:t>
            </a:r>
            <a:endParaRPr lang="en-US" dirty="0"/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/>
            </a:pPr>
            <a:r>
              <a:rPr lang="sk-SK" dirty="0"/>
              <a:t>Robustné prepravné koleso pre jednoduchú prepravu</a:t>
            </a:r>
            <a:endParaRPr lang="en-US" dirty="0"/>
          </a:p>
          <a:p>
            <a:pPr marL="285750" indent="-285750"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/>
            </a:pPr>
            <a:r>
              <a:rPr lang="sk-SK" dirty="0"/>
              <a:t>Praktická a bezpečná preprava nožov</a:t>
            </a:r>
            <a:endParaRPr lang="en-US" dirty="0">
              <a:latin typeface="STIHL Contraface Text" panose="020B0503020202020102" pitchFamily="34" charset="0"/>
              <a:cs typeface="Arial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44" t="18885" r="24195" b="31280"/>
          <a:stretch/>
        </p:blipFill>
        <p:spPr>
          <a:xfrm>
            <a:off x="487073" y="3624568"/>
            <a:ext cx="3453857" cy="2805107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2" t="30994" r="9388" b="12079"/>
          <a:stretch/>
        </p:blipFill>
        <p:spPr>
          <a:xfrm rot="957446">
            <a:off x="3441612" y="4521316"/>
            <a:ext cx="3291407" cy="148737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83" t="67064" r="62110" b="610"/>
          <a:stretch/>
        </p:blipFill>
        <p:spPr>
          <a:xfrm>
            <a:off x="7364699" y="4588601"/>
            <a:ext cx="1500435" cy="1850836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22" t="27917" r="9582" b="4941"/>
          <a:stretch/>
        </p:blipFill>
        <p:spPr>
          <a:xfrm>
            <a:off x="10226993" y="3182877"/>
            <a:ext cx="1485581" cy="3249596"/>
          </a:xfrm>
          <a:prstGeom prst="rect">
            <a:avLst/>
          </a:prstGeom>
          <a:ln w="38100">
            <a:noFill/>
          </a:ln>
        </p:spPr>
      </p:pic>
      <p:cxnSp>
        <p:nvCxnSpPr>
          <p:cNvPr id="25" name="Gewinkelter Verbinder 24"/>
          <p:cNvCxnSpPr/>
          <p:nvPr/>
        </p:nvCxnSpPr>
        <p:spPr>
          <a:xfrm rot="10800000" flipV="1">
            <a:off x="2949112" y="5375013"/>
            <a:ext cx="2638349" cy="307561"/>
          </a:xfrm>
          <a:prstGeom prst="bentConnector3">
            <a:avLst>
              <a:gd name="adj1" fmla="val 9356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479427" y="1130300"/>
            <a:ext cx="11233147" cy="24929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 err="1">
                <a:latin typeface="STIHL Contraface Text Demi" panose="020B0703020202020102" pitchFamily="34" charset="0"/>
              </a:rPr>
              <a:t>Kultivátory</a:t>
            </a:r>
            <a:r>
              <a:rPr lang="en-US" dirty="0">
                <a:latin typeface="STIHL Contraface Text Demi" panose="020B0703020202020102" pitchFamily="34" charset="0"/>
              </a:rPr>
              <a:t> pre </a:t>
            </a:r>
            <a:r>
              <a:rPr lang="en-US" dirty="0" err="1">
                <a:latin typeface="STIHL Contraface Text Demi" panose="020B0703020202020102" pitchFamily="34" charset="0"/>
              </a:rPr>
              <a:t>poľnohospodárstvo</a:t>
            </a:r>
            <a:r>
              <a:rPr lang="en-US" dirty="0">
                <a:latin typeface="STIHL Contraface Text Demi" panose="020B0703020202020102" pitchFamily="34" charset="0"/>
              </a:rPr>
              <a:t> a </a:t>
            </a:r>
            <a:r>
              <a:rPr lang="en-US" dirty="0" err="1">
                <a:latin typeface="STIHL Contraface Text Demi" panose="020B0703020202020102" pitchFamily="34" charset="0"/>
              </a:rPr>
              <a:t>záhradníctvo</a:t>
            </a:r>
            <a:endParaRPr lang="en-US" dirty="0">
              <a:latin typeface="STIHL Contraface Text Demi" panose="020B0703020202020102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873381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latin typeface="STIHL Contraface Display Title" panose="02000600040000020004" pitchFamily="50" charset="0"/>
              </a:rPr>
              <a:t>Silné</a:t>
            </a:r>
            <a:r>
              <a:rPr lang="en-US" dirty="0">
                <a:latin typeface="STIHL Contraface Display Title" panose="02000600040000020004" pitchFamily="50" charset="0"/>
              </a:rPr>
              <a:t> </a:t>
            </a:r>
            <a:r>
              <a:rPr lang="en-US" dirty="0" err="1">
                <a:latin typeface="STIHL Contraface Display Title" panose="02000600040000020004" pitchFamily="50" charset="0"/>
              </a:rPr>
              <a:t>stránky</a:t>
            </a:r>
            <a:r>
              <a:rPr lang="en-US" dirty="0">
                <a:latin typeface="STIHL Contraface Display Title" panose="02000600040000020004" pitchFamily="50" charset="0"/>
              </a:rPr>
              <a:t> | </a:t>
            </a:r>
            <a:r>
              <a:rPr lang="en-US" dirty="0" err="1">
                <a:latin typeface="STIHL Contraface Display Title" panose="02000600040000020004" pitchFamily="50" charset="0"/>
              </a:rPr>
              <a:t>Cieľové</a:t>
            </a:r>
            <a:r>
              <a:rPr lang="en-US" dirty="0">
                <a:latin typeface="STIHL Contraface Display Title" panose="02000600040000020004" pitchFamily="50" charset="0"/>
              </a:rPr>
              <a:t> </a:t>
            </a:r>
            <a:r>
              <a:rPr lang="en-US" dirty="0" err="1">
                <a:latin typeface="STIHL Contraface Display Title" panose="02000600040000020004" pitchFamily="50" charset="0"/>
              </a:rPr>
              <a:t>skupiny</a:t>
            </a:r>
            <a:r>
              <a:rPr lang="en-US" dirty="0">
                <a:latin typeface="STIHL Contraface Display Title" panose="02000600040000020004" pitchFamily="50" charset="0"/>
              </a:rPr>
              <a:t> | </a:t>
            </a:r>
            <a:r>
              <a:rPr lang="sk-SK" dirty="0">
                <a:latin typeface="STIHL Contraface Display Title" panose="02000600040000020004" pitchFamily="50" charset="0"/>
              </a:rPr>
              <a:t>Použitie</a:t>
            </a:r>
            <a:endParaRPr lang="en-US" dirty="0">
              <a:latin typeface="STIHL Contraface Display Title" panose="02000600040000020004" pitchFamily="50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>
                <a:latin typeface="STIHL Contraface Text Demi" panose="020B0703020202020102" pitchFamily="34" charset="0"/>
              </a:rPr>
              <a:t>STIHL MH 600.1</a:t>
            </a:r>
            <a:r>
              <a:rPr lang="sk-SK" altLang="de-DE" sz="1800" dirty="0">
                <a:latin typeface="STIHL Contraface Display Title" pitchFamily="50" charset="0"/>
              </a:rPr>
              <a:t> / 700.1</a:t>
            </a:r>
            <a:endParaRPr lang="en-US" dirty="0">
              <a:latin typeface="STIHL Contraface Text Demi" panose="020B0703020202020102" pitchFamily="34" charset="0"/>
            </a:endParaRPr>
          </a:p>
        </p:txBody>
      </p:sp>
      <p:graphicFrame>
        <p:nvGraphicFramePr>
          <p:cNvPr id="12" name="Tabel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6139334"/>
              </p:ext>
            </p:extLst>
          </p:nvPr>
        </p:nvGraphicFramePr>
        <p:xfrm>
          <a:off x="469969" y="4021554"/>
          <a:ext cx="11063034" cy="2550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59131">
                  <a:extLst>
                    <a:ext uri="{9D8B030D-6E8A-4147-A177-3AD203B41FA5}">
                      <a16:colId xmlns:a16="http://schemas.microsoft.com/office/drawing/2014/main" val="3167966886"/>
                    </a:ext>
                  </a:extLst>
                </a:gridCol>
                <a:gridCol w="3803834">
                  <a:extLst>
                    <a:ext uri="{9D8B030D-6E8A-4147-A177-3AD203B41FA5}">
                      <a16:colId xmlns:a16="http://schemas.microsoft.com/office/drawing/2014/main" val="3099935060"/>
                    </a:ext>
                  </a:extLst>
                </a:gridCol>
                <a:gridCol w="3500069">
                  <a:extLst>
                    <a:ext uri="{9D8B030D-6E8A-4147-A177-3AD203B41FA5}">
                      <a16:colId xmlns:a16="http://schemas.microsoft.com/office/drawing/2014/main" val="4252360627"/>
                    </a:ext>
                  </a:extLst>
                </a:gridCol>
              </a:tblGrid>
              <a:tr h="239636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r>
                        <a:rPr lang="sk-SK" sz="1600" b="1" noProof="0" dirty="0">
                          <a:solidFill>
                            <a:schemeClr val="tx1"/>
                          </a:solidFill>
                        </a:rPr>
                        <a:t>Silné stránky </a:t>
                      </a:r>
                      <a:endParaRPr lang="de-DE" sz="1600" b="1" noProof="0" dirty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sk-SK" sz="1600" b="0" noProof="0" dirty="0">
                          <a:solidFill>
                            <a:schemeClr val="tx1"/>
                          </a:solidFill>
                        </a:rPr>
                        <a:t>Sklopiteľná </a:t>
                      </a:r>
                      <a:r>
                        <a:rPr lang="sk-SK" sz="1600" b="0" noProof="0" dirty="0" err="1">
                          <a:solidFill>
                            <a:schemeClr val="tx1"/>
                          </a:solidFill>
                        </a:rPr>
                        <a:t>rokoväť</a:t>
                      </a:r>
                      <a:r>
                        <a:rPr lang="sk-SK" sz="1600" b="0" noProof="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de-DE" sz="1600" b="0" noProof="0" dirty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sk-SK" sz="1600" b="0" noProof="0" dirty="0">
                          <a:solidFill>
                            <a:schemeClr val="tx1"/>
                          </a:solidFill>
                        </a:rPr>
                        <a:t>3-stupňovo nastaviteľné transportné koleso s oceľovým ráfikom a pneumatikami z pevnej gumy </a:t>
                      </a:r>
                      <a:endParaRPr lang="en-US" sz="1600" b="0" noProof="0" dirty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sk-SK" sz="1600" b="0" noProof="0" dirty="0">
                          <a:solidFill>
                            <a:schemeClr val="tx1"/>
                          </a:solidFill>
                        </a:rPr>
                        <a:t>2 rýchlosti + spiatočka </a:t>
                      </a:r>
                      <a:endParaRPr lang="de-DE" sz="1600" b="0" noProof="0" dirty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sk-SK" sz="1600" b="0" noProof="0" dirty="0">
                          <a:solidFill>
                            <a:schemeClr val="tx1"/>
                          </a:solidFill>
                        </a:rPr>
                        <a:t>Robustná konštrukcia </a:t>
                      </a:r>
                      <a:endParaRPr lang="de-DE" sz="1600" b="0" noProof="0" dirty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sk-SK" sz="1600" b="0" baseline="0" noProof="0" dirty="0">
                          <a:solidFill>
                            <a:schemeClr val="tx1"/>
                          </a:solidFill>
                        </a:rPr>
                        <a:t>Olejový filter </a:t>
                      </a:r>
                      <a:endParaRPr lang="en-US" sz="16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defRPr/>
                      </a:pPr>
                      <a:r>
                        <a:rPr lang="sk-SK" altLang="de-DE" sz="1600" b="1" noProof="0" dirty="0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Cieľové skupiny a použitie </a:t>
                      </a:r>
                      <a:endParaRPr lang="en-US" altLang="de-DE" sz="1600" b="1" noProof="0" dirty="0">
                        <a:solidFill>
                          <a:schemeClr val="tx1"/>
                        </a:solidFill>
                        <a:latin typeface="STIHL Contraface Text" panose="020B0503020202020102" pitchFamily="34" charset="0"/>
                      </a:endParaRPr>
                    </a:p>
                    <a:p>
                      <a:pPr marL="285750" lvl="0" indent="-28575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buChar char="§"/>
                        <a:defRPr/>
                      </a:pPr>
                      <a:r>
                        <a:rPr lang="sk-SK" sz="1600" b="0" baseline="0" noProof="0" dirty="0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Poľnohospodári</a:t>
                      </a:r>
                    </a:p>
                    <a:p>
                      <a:pPr marL="285750" lvl="0" indent="-28575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buChar char="§"/>
                        <a:defRPr/>
                      </a:pPr>
                      <a:r>
                        <a:rPr lang="sk-SK" sz="1600" b="0" baseline="0" noProof="0" dirty="0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Zeleninári </a:t>
                      </a:r>
                    </a:p>
                    <a:p>
                      <a:pPr marL="285750" lvl="0" indent="-28575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>
                          <a:schemeClr val="accent2"/>
                        </a:buClr>
                        <a:buFont typeface="Wingdings" panose="05000000000000000000" pitchFamily="2" charset="2"/>
                        <a:buChar char="§"/>
                        <a:defRPr/>
                      </a:pPr>
                      <a:r>
                        <a:rPr lang="sk-SK" sz="1600" b="0" baseline="0" noProof="0" dirty="0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Farmári</a:t>
                      </a:r>
                      <a:endParaRPr lang="en-US" sz="1600" b="0" baseline="0" noProof="0" dirty="0">
                        <a:solidFill>
                          <a:schemeClr val="tx1"/>
                        </a:solidFill>
                        <a:latin typeface="STIHL Contraface Text" panose="020B0503020202020102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</a:pPr>
                      <a:br>
                        <a:rPr sz="1600" dirty="0">
                          <a:solidFill>
                            <a:schemeClr val="tx1"/>
                          </a:solidFill>
                        </a:rPr>
                      </a:br>
                      <a:br>
                        <a:rPr sz="1600" dirty="0">
                          <a:solidFill>
                            <a:schemeClr val="tx1"/>
                          </a:solidFill>
                        </a:rPr>
                      </a:br>
                      <a:br>
                        <a:rPr sz="1600" dirty="0">
                          <a:solidFill>
                            <a:schemeClr val="tx1"/>
                          </a:solidFill>
                        </a:rPr>
                      </a:br>
                      <a:endParaRPr lang="en-US" sz="1600" b="1" noProof="0" dirty="0">
                        <a:solidFill>
                          <a:schemeClr val="tx1"/>
                        </a:solidFill>
                        <a:latin typeface="STIHL Contraface Text" panose="020B0503020202020102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932748"/>
                  </a:ext>
                </a:extLst>
              </a:tr>
            </a:tbl>
          </a:graphicData>
        </a:graphic>
      </p:graphicFrame>
      <p:pic>
        <p:nvPicPr>
          <p:cNvPr id="13" name="Grafik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3416" y="7180056"/>
            <a:ext cx="255440" cy="255440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0252" y="7192724"/>
            <a:ext cx="46962" cy="197593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3229" y="7200956"/>
            <a:ext cx="224172" cy="224172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3413" y="7139993"/>
            <a:ext cx="65174" cy="274220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0011" y="7170666"/>
            <a:ext cx="401046" cy="401046"/>
          </a:xfrm>
          <a:prstGeom prst="rect">
            <a:avLst/>
          </a:prstGeom>
        </p:spPr>
      </p:pic>
      <p:pic>
        <p:nvPicPr>
          <p:cNvPr id="21" name="Grafik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7813" y="7139993"/>
            <a:ext cx="431719" cy="431719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26" y="1603375"/>
            <a:ext cx="3564000" cy="2376475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4000" y="1596360"/>
            <a:ext cx="3564000" cy="237647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23" b="328"/>
          <a:stretch/>
        </p:blipFill>
        <p:spPr>
          <a:xfrm>
            <a:off x="8148574" y="1603375"/>
            <a:ext cx="3565589" cy="484822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096046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8697" y="1310525"/>
            <a:ext cx="5159589" cy="5159589"/>
          </a:xfrm>
          <a:prstGeom prst="rect">
            <a:avLst/>
          </a:prstGeom>
        </p:spPr>
      </p:pic>
      <p:sp>
        <p:nvSpPr>
          <p:cNvPr id="103" name="Rechteck 41"/>
          <p:cNvSpPr>
            <a:spLocks noChangeArrowheads="1"/>
          </p:cNvSpPr>
          <p:nvPr/>
        </p:nvSpPr>
        <p:spPr bwMode="auto">
          <a:xfrm>
            <a:off x="6986555" y="5946433"/>
            <a:ext cx="286153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sk-SK" altLang="de-DE" sz="1600" dirty="0"/>
              <a:t>Nastaviteľné nože </a:t>
            </a:r>
            <a:endParaRPr lang="en-US" altLang="de-DE" sz="160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9" name="Rechteck 41"/>
          <p:cNvSpPr>
            <a:spLocks noChangeArrowheads="1"/>
          </p:cNvSpPr>
          <p:nvPr/>
        </p:nvSpPr>
        <p:spPr bwMode="auto">
          <a:xfrm>
            <a:off x="9075837" y="2063383"/>
            <a:ext cx="205721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sk-SK" altLang="de-DE" sz="1600" dirty="0"/>
              <a:t>Páka pohonu</a:t>
            </a:r>
            <a:endParaRPr lang="en-US" altLang="de-DE" sz="160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>
                <a:latin typeface="STIHL Contraface Display Title" panose="02000600040000020004" pitchFamily="50" charset="0"/>
              </a:rPr>
              <a:t>Vlastnosti produktu </a:t>
            </a:r>
            <a:endParaRPr lang="en-US" dirty="0">
              <a:latin typeface="STIHL Contraface Display Title" panose="02000600040000020004" pitchFamily="50" charset="0"/>
            </a:endParaRPr>
          </a:p>
        </p:txBody>
      </p:sp>
      <p:sp>
        <p:nvSpPr>
          <p:cNvPr id="58" name="Ellipse 57"/>
          <p:cNvSpPr/>
          <p:nvPr/>
        </p:nvSpPr>
        <p:spPr>
          <a:xfrm>
            <a:off x="8340083" y="2811825"/>
            <a:ext cx="231618" cy="225626"/>
          </a:xfrm>
          <a:prstGeom prst="ellipse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90000"/>
              </a:lnSpc>
            </a:pPr>
            <a:r>
              <a:rPr lang="en-US" sz="1200" b="1" kern="0" dirty="0">
                <a:solidFill>
                  <a:schemeClr val="bg1"/>
                </a:solidFill>
                <a:latin typeface="STIHL Contraface Text Demi" panose="020B0703020202020102" pitchFamily="34" charset="0"/>
              </a:rPr>
              <a:t>3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61" name="Ellipse 60"/>
          <p:cNvSpPr/>
          <p:nvPr/>
        </p:nvSpPr>
        <p:spPr>
          <a:xfrm>
            <a:off x="8837645" y="2088762"/>
            <a:ext cx="231618" cy="225626"/>
          </a:xfrm>
          <a:prstGeom prst="ellipse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90000"/>
              </a:lnSpc>
            </a:pPr>
            <a:r>
              <a:rPr lang="en-US" sz="1200" b="1" kern="0" dirty="0">
                <a:solidFill>
                  <a:schemeClr val="bg1"/>
                </a:solidFill>
                <a:latin typeface="STIHL Contraface Text Demi" panose="020B0703020202020102" pitchFamily="34" charset="0"/>
              </a:rPr>
              <a:t>2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62" name="Ellipse 61"/>
          <p:cNvSpPr/>
          <p:nvPr/>
        </p:nvSpPr>
        <p:spPr>
          <a:xfrm>
            <a:off x="7975084" y="5164981"/>
            <a:ext cx="231618" cy="225626"/>
          </a:xfrm>
          <a:prstGeom prst="ellipse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90000"/>
              </a:lnSpc>
            </a:pPr>
            <a:r>
              <a:rPr lang="en-US" sz="1200" b="1" kern="0" dirty="0">
                <a:solidFill>
                  <a:schemeClr val="bg1"/>
                </a:solidFill>
                <a:latin typeface="STIHL Contraface Text Demi" panose="020B0703020202020102" pitchFamily="34" charset="0"/>
              </a:rPr>
              <a:t>5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5" name="Ellipse 74"/>
          <p:cNvSpPr/>
          <p:nvPr/>
        </p:nvSpPr>
        <p:spPr>
          <a:xfrm>
            <a:off x="6754937" y="6000392"/>
            <a:ext cx="231618" cy="225626"/>
          </a:xfrm>
          <a:prstGeom prst="ellipse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90000"/>
              </a:lnSpc>
            </a:pPr>
            <a:r>
              <a:rPr lang="en-US" sz="1200" b="1" kern="0" dirty="0">
                <a:solidFill>
                  <a:schemeClr val="bg1"/>
                </a:solidFill>
                <a:latin typeface="STIHL Contraface Text Demi" panose="020B0703020202020102" pitchFamily="34" charset="0"/>
              </a:rPr>
              <a:t>6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6" name="Ellipse 75"/>
          <p:cNvSpPr/>
          <p:nvPr/>
        </p:nvSpPr>
        <p:spPr>
          <a:xfrm>
            <a:off x="8515506" y="3827277"/>
            <a:ext cx="231618" cy="225626"/>
          </a:xfrm>
          <a:prstGeom prst="ellipse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90000"/>
              </a:lnSpc>
            </a:pPr>
            <a:r>
              <a:rPr lang="en-US" sz="1200" b="1" kern="0" dirty="0">
                <a:solidFill>
                  <a:schemeClr val="bg1"/>
                </a:solidFill>
                <a:latin typeface="STIHL Contraface Text Demi" panose="020B0703020202020102" pitchFamily="34" charset="0"/>
              </a:rPr>
              <a:t>4</a:t>
            </a:r>
            <a:endParaRPr lang="en-US" sz="1200" b="1" dirty="0">
              <a:solidFill>
                <a:schemeClr val="bg1"/>
              </a:solidFill>
            </a:endParaRPr>
          </a:p>
        </p:txBody>
      </p:sp>
      <p:grpSp>
        <p:nvGrpSpPr>
          <p:cNvPr id="82" name="Gruppieren 81"/>
          <p:cNvGrpSpPr/>
          <p:nvPr/>
        </p:nvGrpSpPr>
        <p:grpSpPr>
          <a:xfrm>
            <a:off x="4454532" y="1996058"/>
            <a:ext cx="324128" cy="258532"/>
            <a:chOff x="5019637" y="6917225"/>
            <a:chExt cx="324128" cy="258532"/>
          </a:xfrm>
        </p:grpSpPr>
        <p:sp>
          <p:nvSpPr>
            <p:cNvPr id="83" name="Ellipse 82"/>
            <p:cNvSpPr/>
            <p:nvPr/>
          </p:nvSpPr>
          <p:spPr>
            <a:xfrm>
              <a:off x="5060720" y="6928201"/>
              <a:ext cx="231618" cy="225626"/>
            </a:xfrm>
            <a:prstGeom prst="ellipse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>
                <a:lnSpc>
                  <a:spcPct val="90000"/>
                </a:lnSpc>
              </a:pPr>
              <a:endParaRPr lang="de-AT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84" name="Rechteck 83"/>
            <p:cNvSpPr/>
            <p:nvPr/>
          </p:nvSpPr>
          <p:spPr>
            <a:xfrm>
              <a:off x="5019637" y="6917225"/>
              <a:ext cx="324128" cy="2585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200" b="1" kern="0" dirty="0">
                  <a:solidFill>
                    <a:schemeClr val="bg1"/>
                  </a:solidFill>
                  <a:latin typeface="STIHL Contraface Text Demi" panose="020B0703020202020102" pitchFamily="34" charset="0"/>
                </a:rPr>
                <a:t>12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5" name="Gruppieren 84"/>
          <p:cNvGrpSpPr/>
          <p:nvPr/>
        </p:nvGrpSpPr>
        <p:grpSpPr>
          <a:xfrm>
            <a:off x="5515686" y="1290360"/>
            <a:ext cx="327334" cy="258532"/>
            <a:chOff x="5020012" y="6911748"/>
            <a:chExt cx="327334" cy="258532"/>
          </a:xfrm>
        </p:grpSpPr>
        <p:sp>
          <p:nvSpPr>
            <p:cNvPr id="86" name="Ellipse 85"/>
            <p:cNvSpPr/>
            <p:nvPr/>
          </p:nvSpPr>
          <p:spPr>
            <a:xfrm>
              <a:off x="5060720" y="6928201"/>
              <a:ext cx="231618" cy="225626"/>
            </a:xfrm>
            <a:prstGeom prst="ellipse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>
                <a:lnSpc>
                  <a:spcPct val="90000"/>
                </a:lnSpc>
              </a:pPr>
              <a:endParaRPr lang="de-AT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87" name="Rechteck 86"/>
            <p:cNvSpPr/>
            <p:nvPr/>
          </p:nvSpPr>
          <p:spPr>
            <a:xfrm>
              <a:off x="5020012" y="6911748"/>
              <a:ext cx="327334" cy="2585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200" b="1" kern="0" dirty="0">
                  <a:solidFill>
                    <a:schemeClr val="bg1"/>
                  </a:solidFill>
                  <a:latin typeface="STIHL Contraface Text Demi" panose="020B0703020202020102" pitchFamily="34" charset="0"/>
                </a:rPr>
                <a:t>13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" name="Textfeld 3"/>
          <p:cNvSpPr txBox="1"/>
          <p:nvPr/>
        </p:nvSpPr>
        <p:spPr>
          <a:xfrm>
            <a:off x="8106937" y="6154122"/>
            <a:ext cx="65" cy="2215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90000"/>
              </a:lnSpc>
              <a:spcBef>
                <a:spcPts val="400"/>
              </a:spcBef>
            </a:pPr>
            <a:endParaRPr lang="de-DE" sz="1600" dirty="0"/>
          </a:p>
        </p:txBody>
      </p:sp>
      <p:sp>
        <p:nvSpPr>
          <p:cNvPr id="65" name="Rechteck 41"/>
          <p:cNvSpPr>
            <a:spLocks noChangeArrowheads="1"/>
          </p:cNvSpPr>
          <p:nvPr/>
        </p:nvSpPr>
        <p:spPr bwMode="auto">
          <a:xfrm>
            <a:off x="8751644" y="3776978"/>
            <a:ext cx="286123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sk-SK" altLang="de-DE" sz="1600" dirty="0"/>
              <a:t>Nastaviteľná brzdová ostroha s montážou na prepravu nožov</a:t>
            </a:r>
            <a:endParaRPr lang="en-US" altLang="de-DE" sz="160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98" name="Gerade Verbindung 14"/>
          <p:cNvCxnSpPr/>
          <p:nvPr/>
        </p:nvCxnSpPr>
        <p:spPr>
          <a:xfrm flipH="1">
            <a:off x="7078901" y="5277794"/>
            <a:ext cx="783041" cy="124909"/>
          </a:xfrm>
          <a:prstGeom prst="line">
            <a:avLst/>
          </a:prstGeom>
          <a:ln w="19050">
            <a:solidFill>
              <a:srgbClr val="F47B1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22"/>
          <p:cNvCxnSpPr/>
          <p:nvPr/>
        </p:nvCxnSpPr>
        <p:spPr>
          <a:xfrm flipV="1">
            <a:off x="8021809" y="2195084"/>
            <a:ext cx="726893" cy="116706"/>
          </a:xfrm>
          <a:prstGeom prst="line">
            <a:avLst/>
          </a:prstGeom>
          <a:ln w="19050">
            <a:solidFill>
              <a:srgbClr val="F47B1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22"/>
          <p:cNvCxnSpPr/>
          <p:nvPr/>
        </p:nvCxnSpPr>
        <p:spPr>
          <a:xfrm flipH="1">
            <a:off x="6639807" y="3931444"/>
            <a:ext cx="1758862" cy="15252"/>
          </a:xfrm>
          <a:prstGeom prst="line">
            <a:avLst/>
          </a:prstGeom>
          <a:ln w="19050">
            <a:solidFill>
              <a:srgbClr val="F47B1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22"/>
          <p:cNvCxnSpPr/>
          <p:nvPr/>
        </p:nvCxnSpPr>
        <p:spPr>
          <a:xfrm flipH="1" flipV="1">
            <a:off x="7498739" y="2904206"/>
            <a:ext cx="726407" cy="4869"/>
          </a:xfrm>
          <a:prstGeom prst="line">
            <a:avLst/>
          </a:prstGeom>
          <a:ln w="19050">
            <a:solidFill>
              <a:srgbClr val="F47B1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hteck 41"/>
          <p:cNvSpPr>
            <a:spLocks noChangeArrowheads="1"/>
          </p:cNvSpPr>
          <p:nvPr/>
        </p:nvSpPr>
        <p:spPr bwMode="auto">
          <a:xfrm>
            <a:off x="8571701" y="2756299"/>
            <a:ext cx="2942003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sk-SK" altLang="de-DE" sz="1600" dirty="0"/>
              <a:t>Radiaca páka (2 stupne vpred a spiatočka)</a:t>
            </a:r>
            <a:endParaRPr lang="en-US" altLang="de-DE" sz="160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06" name="Rechteck 41"/>
          <p:cNvSpPr>
            <a:spLocks noChangeArrowheads="1"/>
          </p:cNvSpPr>
          <p:nvPr/>
        </p:nvSpPr>
        <p:spPr bwMode="auto">
          <a:xfrm>
            <a:off x="836078" y="5898250"/>
            <a:ext cx="333620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/>
            <a:r>
              <a:rPr lang="en-US" altLang="de-DE" sz="1600" dirty="0" err="1"/>
              <a:t>Nastaviteľné</a:t>
            </a:r>
            <a:r>
              <a:rPr lang="en-US" altLang="de-DE" sz="1600" dirty="0"/>
              <a:t> </a:t>
            </a:r>
            <a:r>
              <a:rPr lang="en-US" altLang="de-DE" sz="1600" dirty="0" err="1"/>
              <a:t>transportné</a:t>
            </a:r>
            <a:r>
              <a:rPr lang="en-US" altLang="de-DE" sz="1600" dirty="0"/>
              <a:t> </a:t>
            </a:r>
            <a:r>
              <a:rPr lang="en-US" altLang="de-DE" sz="1600" dirty="0" err="1"/>
              <a:t>koleso</a:t>
            </a:r>
            <a:endParaRPr lang="en-US" altLang="de-DE" sz="160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107" name="Gerade Verbindung 22"/>
          <p:cNvCxnSpPr/>
          <p:nvPr/>
        </p:nvCxnSpPr>
        <p:spPr>
          <a:xfrm flipH="1">
            <a:off x="4427309" y="5886581"/>
            <a:ext cx="364567" cy="113811"/>
          </a:xfrm>
          <a:prstGeom prst="line">
            <a:avLst/>
          </a:prstGeom>
          <a:ln w="19050">
            <a:solidFill>
              <a:srgbClr val="F47B1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22"/>
          <p:cNvCxnSpPr/>
          <p:nvPr/>
        </p:nvCxnSpPr>
        <p:spPr>
          <a:xfrm>
            <a:off x="4819586" y="2119847"/>
            <a:ext cx="2072463" cy="234595"/>
          </a:xfrm>
          <a:prstGeom prst="line">
            <a:avLst/>
          </a:prstGeom>
          <a:ln w="19050">
            <a:solidFill>
              <a:srgbClr val="F47B1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Rechteck 41"/>
          <p:cNvSpPr>
            <a:spLocks noChangeArrowheads="1"/>
          </p:cNvSpPr>
          <p:nvPr/>
        </p:nvSpPr>
        <p:spPr bwMode="auto">
          <a:xfrm>
            <a:off x="479427" y="1946984"/>
            <a:ext cx="400787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/>
            <a:r>
              <a:rPr lang="en-US" altLang="de-DE" sz="1600" dirty="0" err="1"/>
              <a:t>Rýchloupínacia</a:t>
            </a:r>
            <a:r>
              <a:rPr lang="en-US" altLang="de-DE" sz="1600" dirty="0"/>
              <a:t> </a:t>
            </a:r>
            <a:r>
              <a:rPr lang="en-US" altLang="de-DE" sz="1600" dirty="0" err="1"/>
              <a:t>páka</a:t>
            </a:r>
            <a:r>
              <a:rPr lang="en-US" altLang="de-DE" sz="1600" dirty="0"/>
              <a:t>: </a:t>
            </a:r>
            <a:r>
              <a:rPr lang="en-US" altLang="de-DE" sz="1600" dirty="0" err="1"/>
              <a:t>Výškové</a:t>
            </a:r>
            <a:r>
              <a:rPr lang="en-US" altLang="de-DE" sz="1600" dirty="0"/>
              <a:t> </a:t>
            </a:r>
            <a:r>
              <a:rPr lang="en-US" altLang="de-DE" sz="1600" dirty="0" err="1"/>
              <a:t>nastavenie</a:t>
            </a:r>
            <a:r>
              <a:rPr lang="en-US" altLang="de-DE" sz="1600" dirty="0"/>
              <a:t> a </a:t>
            </a:r>
            <a:r>
              <a:rPr lang="en-US" altLang="de-DE" sz="1600" dirty="0" err="1"/>
              <a:t>skladací</a:t>
            </a:r>
            <a:r>
              <a:rPr lang="en-US" altLang="de-DE" sz="1600" dirty="0"/>
              <a:t> </a:t>
            </a:r>
            <a:r>
              <a:rPr lang="en-US" altLang="de-DE" sz="1600" dirty="0" err="1"/>
              <a:t>mechanizmus</a:t>
            </a:r>
            <a:endParaRPr lang="en-US" altLang="de-DE" sz="160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110" name="Gerade Verbindung 22"/>
          <p:cNvCxnSpPr/>
          <p:nvPr/>
        </p:nvCxnSpPr>
        <p:spPr>
          <a:xfrm>
            <a:off x="2638143" y="3501938"/>
            <a:ext cx="2281510" cy="845764"/>
          </a:xfrm>
          <a:prstGeom prst="line">
            <a:avLst/>
          </a:prstGeom>
          <a:ln w="19050">
            <a:solidFill>
              <a:srgbClr val="F47B1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22"/>
          <p:cNvCxnSpPr/>
          <p:nvPr/>
        </p:nvCxnSpPr>
        <p:spPr>
          <a:xfrm flipH="1" flipV="1">
            <a:off x="6374642" y="5651909"/>
            <a:ext cx="326080" cy="348483"/>
          </a:xfrm>
          <a:prstGeom prst="line">
            <a:avLst/>
          </a:prstGeom>
          <a:ln w="19050">
            <a:solidFill>
              <a:srgbClr val="F47B1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Ellipse 111"/>
          <p:cNvSpPr/>
          <p:nvPr/>
        </p:nvSpPr>
        <p:spPr>
          <a:xfrm>
            <a:off x="4147125" y="5946503"/>
            <a:ext cx="231618" cy="225626"/>
          </a:xfrm>
          <a:prstGeom prst="ellipse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90000"/>
              </a:lnSpc>
            </a:pPr>
            <a:r>
              <a:rPr lang="en-US" sz="1200" b="1" kern="0" dirty="0">
                <a:solidFill>
                  <a:schemeClr val="bg1"/>
                </a:solidFill>
                <a:latin typeface="STIHL Contraface Text Demi" panose="020B0703020202020102" pitchFamily="34" charset="0"/>
              </a:rPr>
              <a:t>7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18" name="Rechteck 41"/>
          <p:cNvSpPr>
            <a:spLocks noChangeArrowheads="1"/>
          </p:cNvSpPr>
          <p:nvPr/>
        </p:nvSpPr>
        <p:spPr bwMode="auto">
          <a:xfrm>
            <a:off x="8206703" y="5110406"/>
            <a:ext cx="330700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sk-SK" altLang="de-DE" sz="1600" dirty="0"/>
              <a:t>Odnímateľný ochranný disk </a:t>
            </a:r>
            <a:endParaRPr lang="en-US" altLang="de-DE" sz="160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19" name="Rechteck 41"/>
          <p:cNvSpPr>
            <a:spLocks noChangeArrowheads="1"/>
          </p:cNvSpPr>
          <p:nvPr/>
        </p:nvSpPr>
        <p:spPr bwMode="auto">
          <a:xfrm>
            <a:off x="685884" y="4174680"/>
            <a:ext cx="161524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/>
            <a:r>
              <a:rPr lang="en-US" altLang="de-DE" sz="1600" dirty="0" err="1"/>
              <a:t>Rukoväť</a:t>
            </a:r>
            <a:r>
              <a:rPr lang="en-US" altLang="de-DE" sz="1600" dirty="0"/>
              <a:t> </a:t>
            </a:r>
            <a:r>
              <a:rPr lang="en-US" altLang="de-DE" sz="1600" dirty="0" err="1"/>
              <a:t>na</a:t>
            </a:r>
            <a:r>
              <a:rPr lang="en-US" altLang="de-DE" sz="1600" dirty="0"/>
              <a:t> </a:t>
            </a:r>
            <a:r>
              <a:rPr lang="en-US" altLang="de-DE" sz="1600" dirty="0" err="1"/>
              <a:t>prenášanie</a:t>
            </a:r>
            <a:endParaRPr lang="en-US" altLang="de-DE" sz="160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120" name="Gerade Verbindung 22"/>
          <p:cNvCxnSpPr/>
          <p:nvPr/>
        </p:nvCxnSpPr>
        <p:spPr>
          <a:xfrm flipH="1" flipV="1">
            <a:off x="2638143" y="4342984"/>
            <a:ext cx="2281510" cy="165784"/>
          </a:xfrm>
          <a:prstGeom prst="line">
            <a:avLst/>
          </a:prstGeom>
          <a:ln w="19050">
            <a:solidFill>
              <a:srgbClr val="F47B1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rade Verbindung 22"/>
          <p:cNvCxnSpPr/>
          <p:nvPr/>
        </p:nvCxnSpPr>
        <p:spPr>
          <a:xfrm>
            <a:off x="5859650" y="1509738"/>
            <a:ext cx="734987" cy="439671"/>
          </a:xfrm>
          <a:prstGeom prst="line">
            <a:avLst/>
          </a:prstGeom>
          <a:ln w="19050">
            <a:solidFill>
              <a:srgbClr val="F47B1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Ellipse 123"/>
          <p:cNvSpPr/>
          <p:nvPr/>
        </p:nvSpPr>
        <p:spPr>
          <a:xfrm>
            <a:off x="2306548" y="4230171"/>
            <a:ext cx="231618" cy="225626"/>
          </a:xfrm>
          <a:prstGeom prst="ellipse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90000"/>
              </a:lnSpc>
            </a:pPr>
            <a:r>
              <a:rPr lang="en-US" sz="1200" b="1" kern="0" dirty="0">
                <a:solidFill>
                  <a:schemeClr val="bg1"/>
                </a:solidFill>
                <a:latin typeface="STIHL Contraface Text Demi" panose="020B0703020202020102" pitchFamily="34" charset="0"/>
              </a:rPr>
              <a:t>9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25" name="Rechteck 41"/>
          <p:cNvSpPr>
            <a:spLocks noChangeArrowheads="1"/>
          </p:cNvSpPr>
          <p:nvPr/>
        </p:nvSpPr>
        <p:spPr bwMode="auto">
          <a:xfrm>
            <a:off x="571829" y="3292049"/>
            <a:ext cx="174831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altLang="de-DE" sz="1600" dirty="0" err="1"/>
              <a:t>Výkonný</a:t>
            </a:r>
            <a:r>
              <a:rPr lang="en-US" altLang="de-DE" sz="1600" dirty="0"/>
              <a:t> </a:t>
            </a:r>
            <a:r>
              <a:rPr lang="en-US" altLang="de-DE" sz="1600" dirty="0" err="1"/>
              <a:t>benzínový</a:t>
            </a:r>
            <a:r>
              <a:rPr lang="en-US" altLang="de-DE" sz="1600" dirty="0"/>
              <a:t> motor</a:t>
            </a:r>
            <a:endParaRPr lang="en-US" altLang="de-DE" sz="160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127" name="Gerade Verbindung 22"/>
          <p:cNvCxnSpPr/>
          <p:nvPr/>
        </p:nvCxnSpPr>
        <p:spPr>
          <a:xfrm flipV="1">
            <a:off x="7837635" y="1489969"/>
            <a:ext cx="938776" cy="414902"/>
          </a:xfrm>
          <a:prstGeom prst="line">
            <a:avLst/>
          </a:prstGeom>
          <a:ln w="19050">
            <a:solidFill>
              <a:srgbClr val="F47B1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Ellipse 127"/>
          <p:cNvSpPr/>
          <p:nvPr/>
        </p:nvSpPr>
        <p:spPr>
          <a:xfrm>
            <a:off x="8837645" y="1297372"/>
            <a:ext cx="231618" cy="225626"/>
          </a:xfrm>
          <a:prstGeom prst="ellipse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>
              <a:lnSpc>
                <a:spcPct val="90000"/>
              </a:lnSpc>
            </a:pPr>
            <a:r>
              <a:rPr lang="en-US" sz="1200" b="1" kern="0" dirty="0">
                <a:solidFill>
                  <a:schemeClr val="bg1"/>
                </a:solidFill>
                <a:latin typeface="STIHL Contraface Text Demi" panose="020B0703020202020102" pitchFamily="34" charset="0"/>
              </a:rPr>
              <a:t>1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29" name="Rechteck 41"/>
          <p:cNvSpPr>
            <a:spLocks noChangeArrowheads="1"/>
          </p:cNvSpPr>
          <p:nvPr/>
        </p:nvSpPr>
        <p:spPr bwMode="auto">
          <a:xfrm>
            <a:off x="2942376" y="1230198"/>
            <a:ext cx="258894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/>
            <a:r>
              <a:rPr lang="en-US" altLang="de-DE" sz="1600" dirty="0" err="1"/>
              <a:t>Jednoduché</a:t>
            </a:r>
            <a:r>
              <a:rPr lang="en-US" altLang="de-DE" sz="1600" dirty="0"/>
              <a:t> </a:t>
            </a:r>
            <a:r>
              <a:rPr lang="en-US" altLang="de-DE" sz="1600" dirty="0" err="1"/>
              <a:t>nastavenie</a:t>
            </a:r>
            <a:br>
              <a:rPr lang="en-US" altLang="de-DE" sz="1600" dirty="0"/>
            </a:br>
            <a:r>
              <a:rPr lang="en-US" altLang="de-DE" sz="1600" dirty="0" err="1"/>
              <a:t>otáčok</a:t>
            </a:r>
            <a:r>
              <a:rPr lang="en-US" altLang="de-DE" sz="1600" dirty="0"/>
              <a:t> </a:t>
            </a:r>
            <a:r>
              <a:rPr lang="en-US" altLang="de-DE" sz="1600" dirty="0" err="1"/>
              <a:t>motora</a:t>
            </a:r>
            <a:endParaRPr lang="en-US" altLang="de-DE" sz="160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2" name="Rechteck 41"/>
          <p:cNvSpPr>
            <a:spLocks noChangeArrowheads="1"/>
          </p:cNvSpPr>
          <p:nvPr/>
        </p:nvSpPr>
        <p:spPr bwMode="auto">
          <a:xfrm>
            <a:off x="9075837" y="1258732"/>
            <a:ext cx="1453141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US" altLang="de-DE" sz="1600" dirty="0"/>
              <a:t>On-Off </a:t>
            </a:r>
            <a:r>
              <a:rPr lang="sk-SK" altLang="de-DE" sz="1600" dirty="0"/>
              <a:t>prepínač</a:t>
            </a:r>
            <a:endParaRPr lang="en-US" altLang="de-DE" sz="160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53" name="Gerade Verbindung 22"/>
          <p:cNvCxnSpPr/>
          <p:nvPr/>
        </p:nvCxnSpPr>
        <p:spPr>
          <a:xfrm>
            <a:off x="4470821" y="2935137"/>
            <a:ext cx="1438574" cy="113550"/>
          </a:xfrm>
          <a:prstGeom prst="line">
            <a:avLst/>
          </a:prstGeom>
          <a:ln w="19050">
            <a:solidFill>
              <a:srgbClr val="F47B1F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uppieren 44"/>
          <p:cNvGrpSpPr/>
          <p:nvPr/>
        </p:nvGrpSpPr>
        <p:grpSpPr>
          <a:xfrm>
            <a:off x="4116218" y="2779809"/>
            <a:ext cx="293670" cy="258532"/>
            <a:chOff x="5034866" y="6917225"/>
            <a:chExt cx="293670" cy="258532"/>
          </a:xfrm>
        </p:grpSpPr>
        <p:sp>
          <p:nvSpPr>
            <p:cNvPr id="46" name="Ellipse 45"/>
            <p:cNvSpPr/>
            <p:nvPr/>
          </p:nvSpPr>
          <p:spPr>
            <a:xfrm>
              <a:off x="5060720" y="6928201"/>
              <a:ext cx="231618" cy="225626"/>
            </a:xfrm>
            <a:prstGeom prst="ellipse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>
                <a:lnSpc>
                  <a:spcPct val="90000"/>
                </a:lnSpc>
              </a:pPr>
              <a:endParaRPr lang="de-AT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47" name="Rechteck 46"/>
            <p:cNvSpPr/>
            <p:nvPr/>
          </p:nvSpPr>
          <p:spPr>
            <a:xfrm>
              <a:off x="5034866" y="6917225"/>
              <a:ext cx="293670" cy="2585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200" b="1" kern="0" dirty="0">
                  <a:solidFill>
                    <a:schemeClr val="bg1"/>
                  </a:solidFill>
                  <a:latin typeface="STIHL Contraface Text Demi" panose="020B0703020202020102" pitchFamily="34" charset="0"/>
                </a:rPr>
                <a:t>11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0" name="Rechteck 41"/>
          <p:cNvSpPr>
            <a:spLocks noChangeArrowheads="1"/>
          </p:cNvSpPr>
          <p:nvPr/>
        </p:nvSpPr>
        <p:spPr bwMode="auto">
          <a:xfrm>
            <a:off x="1685530" y="2741605"/>
            <a:ext cx="2443456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r"/>
            <a:r>
              <a:rPr lang="sk-SK" altLang="de-DE" sz="1600" dirty="0"/>
              <a:t>Nastavenie riadidiel do strany </a:t>
            </a:r>
            <a:endParaRPr lang="en-US" altLang="de-DE" sz="160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56" name="Gruppieren 55"/>
          <p:cNvGrpSpPr/>
          <p:nvPr/>
        </p:nvGrpSpPr>
        <p:grpSpPr>
          <a:xfrm>
            <a:off x="2260372" y="3358623"/>
            <a:ext cx="341761" cy="258532"/>
            <a:chOff x="5010821" y="6917225"/>
            <a:chExt cx="341761" cy="258532"/>
          </a:xfrm>
        </p:grpSpPr>
        <p:sp>
          <p:nvSpPr>
            <p:cNvPr id="57" name="Ellipse 56"/>
            <p:cNvSpPr/>
            <p:nvPr/>
          </p:nvSpPr>
          <p:spPr>
            <a:xfrm>
              <a:off x="5060720" y="6928201"/>
              <a:ext cx="231618" cy="225626"/>
            </a:xfrm>
            <a:prstGeom prst="ellipse">
              <a:avLst/>
            </a:prstGeom>
            <a:solidFill>
              <a:schemeClr val="accent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>
                <a:lnSpc>
                  <a:spcPct val="90000"/>
                </a:lnSpc>
              </a:pPr>
              <a:endParaRPr lang="de-AT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59" name="Rechteck 58"/>
            <p:cNvSpPr/>
            <p:nvPr/>
          </p:nvSpPr>
          <p:spPr>
            <a:xfrm>
              <a:off x="5010821" y="6917225"/>
              <a:ext cx="341761" cy="2585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200" b="1" kern="0" dirty="0">
                  <a:solidFill>
                    <a:schemeClr val="bg1"/>
                  </a:solidFill>
                  <a:latin typeface="STIHL Contraface Text Demi" panose="020B0703020202020102" pitchFamily="34" charset="0"/>
                </a:rPr>
                <a:t>10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60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479427" y="1130300"/>
            <a:ext cx="11233147" cy="249299"/>
          </a:xfrm>
        </p:spPr>
        <p:txBody>
          <a:bodyPr/>
          <a:lstStyle/>
          <a:p>
            <a:r>
              <a:rPr lang="en-US" dirty="0">
                <a:latin typeface="STIHL Contraface Text Demi" panose="020B0703020202020102" pitchFamily="34" charset="0"/>
              </a:rPr>
              <a:t>STIHL MH 600.1</a:t>
            </a:r>
            <a:r>
              <a:rPr lang="sk-SK" altLang="de-DE" sz="1800" dirty="0">
                <a:latin typeface="STIHL Contraface Display Title" pitchFamily="50" charset="0"/>
              </a:rPr>
              <a:t> / 700.1</a:t>
            </a:r>
            <a:endParaRPr lang="en-US" dirty="0">
              <a:latin typeface="STIHL Contraface Text Demi" panose="020B0703020202020102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651516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latin typeface="STIHL Contraface Display Title" panose="02000600040000020004" pitchFamily="50" charset="0"/>
              </a:rPr>
              <a:t>Príslušenstvo</a:t>
            </a:r>
            <a:br>
              <a:rPr lang="en-US" dirty="0">
                <a:latin typeface="STIHL Contraface Display Title" panose="02000600040000020004" pitchFamily="50" charset="0"/>
              </a:rPr>
            </a:br>
            <a:endParaRPr lang="en-US" dirty="0">
              <a:latin typeface="STIHL Contraface Display Title" panose="02000600040000020004" pitchFamily="50" charset="0"/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>
                <a:latin typeface="STIHL Contraface Text Demi" panose="020B0703020202020102" pitchFamily="34" charset="0"/>
              </a:rPr>
              <a:t>STIHL MH 600.1</a:t>
            </a:r>
            <a:r>
              <a:rPr lang="sk-SK" altLang="de-DE" sz="1800" dirty="0">
                <a:latin typeface="STIHL Contraface Display Title" pitchFamily="50" charset="0"/>
              </a:rPr>
              <a:t> / 700.1</a:t>
            </a:r>
            <a:endParaRPr lang="en-US" dirty="0">
              <a:solidFill>
                <a:srgbClr val="FF0000"/>
              </a:solidFill>
              <a:latin typeface="STIHL Contraface Text Demi" panose="020B0703020202020102" pitchFamily="34" charset="0"/>
            </a:endParaRPr>
          </a:p>
        </p:txBody>
      </p:sp>
      <p:graphicFrame>
        <p:nvGraphicFramePr>
          <p:cNvPr id="8" name="Group 50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2507636"/>
              </p:ext>
            </p:extLst>
          </p:nvPr>
        </p:nvGraphicFramePr>
        <p:xfrm>
          <a:off x="479426" y="1605307"/>
          <a:ext cx="6300515" cy="1853760"/>
        </p:xfrm>
        <a:graphic>
          <a:graphicData uri="http://schemas.openxmlformats.org/drawingml/2006/table">
            <a:tbl>
              <a:tblPr/>
              <a:tblGrid>
                <a:gridCol w="40835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69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04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endParaRPr kumimoji="0" lang="de-DE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TIHL Contraface Text" panose="020B0503020202020102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sk-SK" sz="1600" b="1" dirty="0" err="1">
                          <a:solidFill>
                            <a:schemeClr val="bg1"/>
                          </a:solidFill>
                          <a:latin typeface="STIHL Contraface Display Medium" panose="02000603040000020004" pitchFamily="50" charset="0"/>
                        </a:rPr>
                        <a:t>Obj</a:t>
                      </a:r>
                      <a:r>
                        <a:rPr lang="sk-SK" sz="1600" b="1" dirty="0">
                          <a:solidFill>
                            <a:schemeClr val="bg1"/>
                          </a:solidFill>
                          <a:latin typeface="STIHL Contraface Display Medium" panose="02000603040000020004" pitchFamily="50" charset="0"/>
                        </a:rPr>
                        <a:t>. číslo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STIHL Contraface Display Medium" panose="02000603040000020004" pitchFamily="50" charset="0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sk-SK" sz="1600" dirty="0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T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ransportné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kolesá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 ART 012.0 12"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972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6906</a:t>
                      </a:r>
                      <a:r>
                        <a:rPr sz="16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740 1401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Transportný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adaptér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 pre </a:t>
                      </a:r>
                      <a:r>
                        <a:rPr lang="sk-SK" sz="1600" dirty="0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nože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 AHT 600.0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972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6906</a:t>
                      </a:r>
                      <a:r>
                        <a:rPr sz="16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820</a:t>
                      </a:r>
                      <a:r>
                        <a:rPr sz="16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2200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1921738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sk-SK" sz="1600" dirty="0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Radlica 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AHK 800.0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972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STIHL Contraface Text" panose="020B0503020202020102" pitchFamily="34" charset="0"/>
                        </a:rPr>
                        <a:t>6906 710 1142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sk-SK" sz="1600" dirty="0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Kolesá z liatej ocele 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AMR 060.0</a:t>
                      </a:r>
                      <a:endParaRPr lang="en-US" sz="1600" dirty="0">
                        <a:solidFill>
                          <a:schemeClr val="tx1"/>
                        </a:solidFill>
                        <a:latin typeface="STIHL Contraface Text" panose="020B0503020202020102" pitchFamily="34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-972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6906</a:t>
                      </a:r>
                      <a:r>
                        <a:rPr sz="16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710</a:t>
                      </a:r>
                      <a:r>
                        <a:rPr sz="16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STIHL Contraface Text" panose="020B0503020202020102" pitchFamily="34" charset="0"/>
                        </a:rPr>
                        <a:t>0922</a:t>
                      </a:r>
                    </a:p>
                  </a:txBody>
                  <a:tcPr marL="90000" marR="90000" marT="46800" marB="46800" anchor="ctr" horzOverflow="overflow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9335589"/>
                  </a:ext>
                </a:extLst>
              </a:tr>
            </a:tbl>
          </a:graphicData>
        </a:graphic>
      </p:graphicFrame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75" r="15438"/>
          <a:stretch/>
        </p:blipFill>
        <p:spPr>
          <a:xfrm>
            <a:off x="6716494" y="4261619"/>
            <a:ext cx="2393765" cy="2467497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55" t="30820" r="13070" b="19168"/>
          <a:stretch/>
        </p:blipFill>
        <p:spPr>
          <a:xfrm>
            <a:off x="3356920" y="4654924"/>
            <a:ext cx="3529012" cy="1420031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26" t="14569" r="7374" b="9227"/>
          <a:stretch/>
        </p:blipFill>
        <p:spPr>
          <a:xfrm>
            <a:off x="8940821" y="4261619"/>
            <a:ext cx="2997692" cy="1813336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26" y="4215940"/>
            <a:ext cx="3046932" cy="2031694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1528" y="6298281"/>
            <a:ext cx="401046" cy="40104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654125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roup 368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963995341"/>
              </p:ext>
            </p:extLst>
          </p:nvPr>
        </p:nvGraphicFramePr>
        <p:xfrm>
          <a:off x="477838" y="730921"/>
          <a:ext cx="7991473" cy="4351824"/>
        </p:xfrm>
        <a:graphic>
          <a:graphicData uri="http://schemas.openxmlformats.org/drawingml/2006/table">
            <a:tbl>
              <a:tblPr/>
              <a:tblGrid>
                <a:gridCol w="47164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047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702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9165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endParaRPr kumimoji="0" lang="de-DE" altLang="de-DE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STIHL Contraface Display Medium" panose="02000603040000020004" pitchFamily="50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89997" marR="89997" marT="46796" marB="467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endParaRPr kumimoji="0" lang="de-DE" altLang="de-DE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STIHL Contraface Display Medium" panose="02000603040000020004" pitchFamily="50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89997" marR="89997" marT="46796" marB="467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STIHL Contraface Display Medium" panose="02000603040000020004" pitchFamily="50" charset="0"/>
                        </a:rPr>
                        <a:t>STIHL</a:t>
                      </a:r>
                      <a:br>
                        <a:rPr sz="1800" dirty="0"/>
                      </a:br>
                      <a:r>
                        <a:rPr kumimoji="0" lang="en-US" altLang="de-DE" sz="1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STIHL Contraface Display Medium" panose="02000603040000020004" pitchFamily="50" charset="0"/>
                        </a:rPr>
                        <a:t>MH 600.1</a:t>
                      </a:r>
                    </a:p>
                  </a:txBody>
                  <a:tcPr marL="91437" marR="91437" marT="45716" marB="45716" anchor="ctr" horzOverflow="overflow">
                    <a:lnL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7A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66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otor</a:t>
                      </a:r>
                    </a:p>
                  </a:txBody>
                  <a:tcPr marL="89997" marR="89997" marT="46796" marB="467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endParaRPr kumimoji="0" lang="de-DE" altLang="de-DE" sz="16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89997" marR="89997" marT="46796" marB="46796" anchor="ctr" horzOverflow="overflow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HC 60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714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sk-SK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bjem </a:t>
                      </a:r>
                      <a:endParaRPr kumimoji="0" lang="en-US" altLang="de-DE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9997" marR="89997" marT="46796" marB="467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[cc]</a:t>
                      </a:r>
                    </a:p>
                  </a:txBody>
                  <a:tcPr marL="89997" marR="89997" marT="46796" marB="46796" anchor="ctr" horzOverflow="overflow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12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751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enovitý</a:t>
                      </a: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en-US" altLang="de-DE" sz="16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ýkon</a:t>
                      </a: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en-US" altLang="de-DE" sz="16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i</a:t>
                      </a: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en-US" altLang="de-DE" sz="16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evádzkových</a:t>
                      </a: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en-US" altLang="de-DE" sz="16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táčkach</a:t>
                      </a:r>
                      <a:endParaRPr kumimoji="0" lang="en-US" altLang="de-DE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9997" marR="89997" marT="46796" marB="467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[kW] </a:t>
                      </a:r>
                      <a:r>
                        <a:rPr lang="en-US" sz="1600" b="0" dirty="0">
                          <a:latin typeface="+mn-lt"/>
                        </a:rPr>
                        <a:t>|</a:t>
                      </a:r>
                      <a:r>
                        <a:rPr sz="1600"/>
                        <a:t> </a:t>
                      </a: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[rpm]</a:t>
                      </a:r>
                    </a:p>
                  </a:txBody>
                  <a:tcPr marL="89997" marR="89997" marT="46796" marB="46796" anchor="ctr" horzOverflow="overflow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.4 </a:t>
                      </a:r>
                      <a:r>
                        <a:rPr lang="en-US" sz="1600" b="0" dirty="0">
                          <a:latin typeface="+mn-lt"/>
                        </a:rPr>
                        <a:t>| </a:t>
                      </a: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60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751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apacita</a:t>
                      </a: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en-US" altLang="de-DE" sz="16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ádrže</a:t>
                      </a: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kumimoji="0" lang="en-US" altLang="de-DE" sz="16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nzín</a:t>
                      </a: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89997" marR="89997" marT="46796" marB="467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[L]</a:t>
                      </a:r>
                    </a:p>
                  </a:txBody>
                  <a:tcPr marL="89997" marR="89997" marT="46796" marB="46796" anchor="ctr" horzOverflow="overflow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.6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0519313"/>
                  </a:ext>
                </a:extLst>
              </a:tr>
              <a:tr h="2743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sk-SK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H</a:t>
                      </a:r>
                      <a:r>
                        <a:rPr kumimoji="0" lang="en-US" altLang="de-DE" sz="16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motnosť</a:t>
                      </a: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 </a:t>
                      </a:r>
                    </a:p>
                  </a:txBody>
                  <a:tcPr marL="89997" marR="89997" marT="46796" marB="467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[kg]</a:t>
                      </a:r>
                    </a:p>
                  </a:txBody>
                  <a:tcPr marL="89997" marR="89997" marT="46796" marB="46796" anchor="ctr" horzOverflow="overflow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7.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23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Garantovaná</a:t>
                      </a: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 </a:t>
                      </a:r>
                      <a:r>
                        <a:rPr kumimoji="0" lang="en-US" altLang="de-DE" sz="16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hladina</a:t>
                      </a: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 </a:t>
                      </a:r>
                      <a:r>
                        <a:rPr kumimoji="0" lang="en-US" altLang="de-DE" sz="16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akustického</a:t>
                      </a: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 </a:t>
                      </a:r>
                      <a:r>
                        <a:rPr kumimoji="0" lang="en-US" altLang="de-DE" sz="16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výkonu</a:t>
                      </a: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 </a:t>
                      </a:r>
                      <a:r>
                        <a:rPr kumimoji="0" lang="en-US" altLang="de-DE" sz="16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LWAd</a:t>
                      </a:r>
                      <a:endParaRPr kumimoji="0" lang="en-US" altLang="de-DE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Arial Unicode MS" panose="020B0604020202020204" pitchFamily="34" charset="-128"/>
                        <a:cs typeface="Arial Unicode MS" panose="020B0604020202020204" pitchFamily="34" charset="-128"/>
                        <a:sym typeface="Wingdings" pitchFamily="2" charset="2"/>
                      </a:endParaRPr>
                    </a:p>
                  </a:txBody>
                  <a:tcPr marL="89997" marR="89997" marT="46796" marB="467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[dB(A)]</a:t>
                      </a:r>
                    </a:p>
                  </a:txBody>
                  <a:tcPr marL="89997" marR="89997" marT="46796" marB="46796" anchor="ctr" horzOverflow="overflow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1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798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Nameraná</a:t>
                      </a: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 </a:t>
                      </a:r>
                      <a:r>
                        <a:rPr kumimoji="0" lang="en-US" altLang="de-DE" sz="16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hladina</a:t>
                      </a: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 </a:t>
                      </a:r>
                      <a:r>
                        <a:rPr kumimoji="0" lang="en-US" altLang="de-DE" sz="16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akustického</a:t>
                      </a: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 </a:t>
                      </a:r>
                      <a:r>
                        <a:rPr kumimoji="0" lang="en-US" altLang="de-DE" sz="16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výkonu</a:t>
                      </a: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 LWA</a:t>
                      </a:r>
                    </a:p>
                  </a:txBody>
                  <a:tcPr marL="89997" marR="89997" marT="46796" marB="467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[dB(A)]</a:t>
                      </a:r>
                    </a:p>
                  </a:txBody>
                  <a:tcPr marL="89997" marR="89997" marT="46796" marB="46796" anchor="ctr" horzOverflow="overflow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9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798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pl-PL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Nameraná úroveň pri práci LpA</a:t>
                      </a:r>
                      <a:endParaRPr kumimoji="0" lang="en-US" altLang="de-DE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Arial Unicode MS" panose="020B0604020202020204" pitchFamily="34" charset="-128"/>
                        <a:cs typeface="Arial Unicode MS" panose="020B0604020202020204" pitchFamily="34" charset="-128"/>
                        <a:sym typeface="Wingdings" pitchFamily="2" charset="2"/>
                      </a:endParaRPr>
                    </a:p>
                  </a:txBody>
                  <a:tcPr marL="89997" marR="89997" marT="46796" marB="467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[dB(A)]</a:t>
                      </a:r>
                    </a:p>
                  </a:txBody>
                  <a:tcPr marL="89997" marR="89997" marT="46796" marB="46796" anchor="ctr" horzOverflow="overflow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7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7576735"/>
                  </a:ext>
                </a:extLst>
              </a:tr>
              <a:tr h="19331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sk-SK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Vibrácie na rukoväti </a:t>
                      </a:r>
                      <a:endParaRPr kumimoji="0" lang="en-US" altLang="de-DE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Arial Unicode MS" panose="020B0604020202020204" pitchFamily="34" charset="-128"/>
                        <a:cs typeface="Arial Unicode MS" panose="020B0604020202020204" pitchFamily="34" charset="-128"/>
                        <a:sym typeface="Wingdings" pitchFamily="2" charset="2"/>
                      </a:endParaRPr>
                    </a:p>
                  </a:txBody>
                  <a:tcPr marL="89997" marR="89997" marT="46796" marB="467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[m/s²]</a:t>
                      </a:r>
                    </a:p>
                  </a:txBody>
                  <a:tcPr marL="89997" marR="89997" marT="46796" marB="46796" anchor="ctr" horzOverflow="overflow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.9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613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Maximálna</a:t>
                      </a: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 </a:t>
                      </a:r>
                      <a:r>
                        <a:rPr kumimoji="0" lang="en-US" altLang="de-DE" sz="16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pracovná</a:t>
                      </a: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 </a:t>
                      </a:r>
                      <a:r>
                        <a:rPr kumimoji="0" lang="en-US" altLang="de-DE" sz="16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šírka</a:t>
                      </a:r>
                      <a:endParaRPr kumimoji="0" lang="en-US" altLang="de-DE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89997" marR="89997" marT="46796" marB="467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[cm]</a:t>
                      </a:r>
                    </a:p>
                  </a:txBody>
                  <a:tcPr marL="89997" marR="89997" marT="46796" marB="46796" anchor="ctr" horzOverflow="overflow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8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2494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Pracovná</a:t>
                      </a: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 </a:t>
                      </a:r>
                      <a:r>
                        <a:rPr kumimoji="0" lang="sk-SK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sym typeface="Wingdings" pitchFamily="2" charset="2"/>
                        </a:rPr>
                        <a:t>hĺbka</a:t>
                      </a:r>
                      <a:endParaRPr kumimoji="0" lang="en-US" altLang="de-DE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89997" marR="89997" marT="46796" marB="46796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de-DE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[cm]</a:t>
                      </a:r>
                    </a:p>
                  </a:txBody>
                  <a:tcPr marL="89997" marR="89997" marT="46796" marB="46796" anchor="ctr" horzOverflow="overflow">
                    <a:lnL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9511389"/>
                  </a:ext>
                </a:extLst>
              </a:tr>
            </a:tbl>
          </a:graphicData>
        </a:graphic>
      </p:graphicFrame>
      <p:pic>
        <p:nvPicPr>
          <p:cNvPr id="10" name="Grafik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0853" y="6273419"/>
            <a:ext cx="431719" cy="431719"/>
          </a:xfrm>
          <a:prstGeom prst="rect">
            <a:avLst/>
          </a:prstGeom>
        </p:spPr>
      </p:pic>
      <p:sp>
        <p:nvSpPr>
          <p:cNvPr id="4" name="Nadpis 3">
            <a:extLst>
              <a:ext uri="{FF2B5EF4-FFF2-40B4-BE49-F238E27FC236}">
                <a16:creationId xmlns:a16="http://schemas.microsoft.com/office/drawing/2014/main" id="{77B5B903-9A36-73D0-1A8F-BB45C8C23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838" y="419974"/>
            <a:ext cx="9579925" cy="304699"/>
          </a:xfrm>
        </p:spPr>
        <p:txBody>
          <a:bodyPr/>
          <a:lstStyle/>
          <a:p>
            <a:r>
              <a:rPr lang="sk-SK" dirty="0"/>
              <a:t>Technické parametre </a:t>
            </a:r>
          </a:p>
        </p:txBody>
      </p:sp>
      <p:graphicFrame>
        <p:nvGraphicFramePr>
          <p:cNvPr id="7" name="Tabuľka 6">
            <a:extLst>
              <a:ext uri="{FF2B5EF4-FFF2-40B4-BE49-F238E27FC236}">
                <a16:creationId xmlns:a16="http://schemas.microsoft.com/office/drawing/2014/main" id="{89F4B587-4D07-F843-0026-2BDF934A33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7534841"/>
              </p:ext>
            </p:extLst>
          </p:nvPr>
        </p:nvGraphicFramePr>
        <p:xfrm>
          <a:off x="8469311" y="730921"/>
          <a:ext cx="1570255" cy="4345576"/>
        </p:xfrm>
        <a:graphic>
          <a:graphicData uri="http://schemas.openxmlformats.org/drawingml/2006/table">
            <a:tbl>
              <a:tblPr/>
              <a:tblGrid>
                <a:gridCol w="1570255">
                  <a:extLst>
                    <a:ext uri="{9D8B030D-6E8A-4147-A177-3AD203B41FA5}">
                      <a16:colId xmlns:a16="http://schemas.microsoft.com/office/drawing/2014/main" val="2486424569"/>
                    </a:ext>
                  </a:extLst>
                </a:gridCol>
              </a:tblGrid>
              <a:tr h="61440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STIHL Contraface Display Medium" panose="02000603040000020004" pitchFamily="50" charset="0"/>
                        </a:rPr>
                        <a:t>STIHL</a:t>
                      </a:r>
                      <a:br>
                        <a:rPr sz="1800" dirty="0"/>
                      </a:br>
                      <a:r>
                        <a:rPr kumimoji="0" lang="en-US" altLang="de-DE" sz="18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STIHL Contraface Display Medium" panose="02000603040000020004" pitchFamily="50" charset="0"/>
                        </a:rPr>
                        <a:t>MH 600.1</a:t>
                      </a:r>
                    </a:p>
                  </a:txBody>
                  <a:tcPr marL="91437" marR="91437" marT="45716" marB="45716" anchor="ctr" horzOverflow="overflow">
                    <a:lnL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7A1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4379315"/>
                  </a:ext>
                </a:extLst>
              </a:tr>
              <a:tr h="34219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HC </a:t>
                      </a:r>
                      <a:r>
                        <a:rPr kumimoji="0" lang="sk-SK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0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26389431"/>
                  </a:ext>
                </a:extLst>
              </a:tr>
              <a:tr h="336331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2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065693"/>
                  </a:ext>
                </a:extLst>
              </a:tr>
              <a:tr h="336331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.2 </a:t>
                      </a:r>
                      <a:r>
                        <a:rPr lang="en-US" sz="1600" b="0" dirty="0">
                          <a:latin typeface="+mn-lt"/>
                        </a:rPr>
                        <a:t>|</a:t>
                      </a:r>
                      <a:r>
                        <a:rPr lang="en-US" sz="1600" dirty="0"/>
                        <a:t> </a:t>
                      </a: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60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9312996"/>
                  </a:ext>
                </a:extLst>
              </a:tr>
              <a:tr h="336331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.6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4016913"/>
                  </a:ext>
                </a:extLst>
              </a:tr>
              <a:tr h="33100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1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723076"/>
                  </a:ext>
                </a:extLst>
              </a:tr>
              <a:tr h="34165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7331822"/>
                  </a:ext>
                </a:extLst>
              </a:tr>
              <a:tr h="336331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8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5649364"/>
                  </a:ext>
                </a:extLst>
              </a:tr>
              <a:tr h="336331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6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4103988"/>
                  </a:ext>
                </a:extLst>
              </a:tr>
              <a:tr h="336331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.9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8675111"/>
                  </a:ext>
                </a:extLst>
              </a:tr>
              <a:tr h="33633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4977571"/>
                  </a:ext>
                </a:extLst>
              </a:tr>
              <a:tr h="336331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2"/>
                        </a:buClr>
                        <a:buSzPct val="80000"/>
                        <a:buFont typeface="Wingdings" pitchFamily="2" charset="2"/>
                        <a:buNone/>
                        <a:tabLst/>
                      </a:pPr>
                      <a:r>
                        <a:rPr kumimoji="0" lang="sk-SK" altLang="de-DE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6</a:t>
                      </a:r>
                      <a:endParaRPr kumimoji="0" lang="en-US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37A1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344011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815288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4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ETTe1mSV.Cm4EVc0cs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zr7RcHSxecPfjmbUJu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rizpMrTy6lgA5SCokSf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Gq4e5bTnOyd7mCDKqzh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CO7J0OS_uYu83qu2IS0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4L0avzTJ2I6Oy1dIR0c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OEdoRNTiaKeA_qVRiv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8H0BhERUq65Lpj817pX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F85tvmTV.2trNKwoze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uUovv2ReqtIUggFzPpZ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6IIGFvQyGz90E2L5DZm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DIO_ID" val="290"/>
  <p:tag name="ARTICULATE_NAV_LEVEL" val="1"/>
  <p:tag name="ARTICULATE_SLIDE_PRESENTER_GUID" val="a7632817-dd0f-4f38-b2f5-2ce2ad6cc20f"/>
  <p:tag name="ARTICULATE_SLIDE_PAUSE" val="1"/>
  <p:tag name="ARTICULATE_LOCK_SLIDE" val="0"/>
  <p:tag name="ARTICULATE_HIDE_SLIDE" val="1"/>
  <p:tag name="ARTICULATE_PLAYER_CONTROL_PREVIOUS" val="True"/>
  <p:tag name="ARTICULATE_PLAYER_CONTROL_NEXT" val="True"/>
  <p:tag name="ARTICULATE_USED_LAYOUT" val="6"/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4g5UG1QUKtI8SxcSTf2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CO7J0OS_uYu83qu2IS0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VArru6TV6RGD66rY_n0g"/>
</p:tagLst>
</file>

<file path=ppt/theme/theme1.xml><?xml version="1.0" encoding="utf-8"?>
<a:theme xmlns:a="http://schemas.openxmlformats.org/drawingml/2006/main" name="STIHL">
  <a:themeElements>
    <a:clrScheme name="STILHL_CD">
      <a:dk1>
        <a:sysClr val="windowText" lastClr="000000"/>
      </a:dk1>
      <a:lt1>
        <a:sysClr val="window" lastClr="FFFFFF"/>
      </a:lt1>
      <a:dk2>
        <a:srgbClr val="B1B1B1"/>
      </a:dk2>
      <a:lt2>
        <a:srgbClr val="E7E6E6"/>
      </a:lt2>
      <a:accent1>
        <a:srgbClr val="000000"/>
      </a:accent1>
      <a:accent2>
        <a:srgbClr val="F37A1F"/>
      </a:accent2>
      <a:accent3>
        <a:srgbClr val="B1B1B1"/>
      </a:accent3>
      <a:accent4>
        <a:srgbClr val="749F4A"/>
      </a:accent4>
      <a:accent5>
        <a:srgbClr val="249ABE"/>
      </a:accent5>
      <a:accent6>
        <a:srgbClr val="FDC543"/>
      </a:accent6>
      <a:hlink>
        <a:srgbClr val="D43B3B"/>
      </a:hlink>
      <a:folHlink>
        <a:srgbClr val="878787"/>
      </a:folHlink>
    </a:clrScheme>
    <a:fontScheme name="STIHL_MASTER">
      <a:majorFont>
        <a:latin typeface="STIHL Contraface Text"/>
        <a:ea typeface=""/>
        <a:cs typeface=""/>
      </a:majorFont>
      <a:minorFont>
        <a:latin typeface="STIHL Contrafac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tx1"/>
          </a:solidFill>
        </a:ln>
      </a:spPr>
      <a:bodyPr lIns="72000" tIns="72000" rIns="72000" bIns="72000" rtlCol="0" anchor="ctr"/>
      <a:lstStyle>
        <a:defPPr algn="ctr">
          <a:lnSpc>
            <a:spcPct val="90000"/>
          </a:lnSpc>
          <a:defRPr sz="1600" b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90000"/>
          </a:lnSpc>
          <a:spcBef>
            <a:spcPts val="400"/>
          </a:spcBef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1_STIHL_PPT_Template_DE_16_9_NEU.potx" id="{19D64F65-DB83-4976-B3EB-B8DB31204112}" vid="{EE63CAB5-1ED8-465B-BE8A-91004C1EB99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52</TotalTime>
  <Words>535</Words>
  <Application>Microsoft Office PowerPoint</Application>
  <PresentationFormat>Širokouhlá</PresentationFormat>
  <Paragraphs>153</Paragraphs>
  <Slides>9</Slides>
  <Notes>6</Notes>
  <HiddenSlides>0</HiddenSlides>
  <MMClips>0</MMClips>
  <ScaleCrop>false</ScaleCrop>
  <HeadingPairs>
    <vt:vector size="8" baseType="variant">
      <vt:variant>
        <vt:lpstr>Použité písma</vt:lpstr>
      </vt:variant>
      <vt:variant>
        <vt:i4>7</vt:i4>
      </vt:variant>
      <vt:variant>
        <vt:lpstr>Motí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9</vt:i4>
      </vt:variant>
    </vt:vector>
  </HeadingPairs>
  <TitlesOfParts>
    <vt:vector size="18" baseType="lpstr">
      <vt:lpstr>Arial</vt:lpstr>
      <vt:lpstr>Calibri</vt:lpstr>
      <vt:lpstr>STIHL Contraface Display Medium</vt:lpstr>
      <vt:lpstr>STIHL Contraface Display Title</vt:lpstr>
      <vt:lpstr>STIHL Contraface Text</vt:lpstr>
      <vt:lpstr>STIHL Contraface Text Demi</vt:lpstr>
      <vt:lpstr>Wingdings</vt:lpstr>
      <vt:lpstr>STIHL</vt:lpstr>
      <vt:lpstr>think-cell Folie</vt:lpstr>
      <vt:lpstr>Prezentácia programu PowerPoint</vt:lpstr>
      <vt:lpstr>STIHL MH 600.1 / 700.1 </vt:lpstr>
      <vt:lpstr>STIHL MH 600 vs. MH 600.1 </vt:lpstr>
      <vt:lpstr>STIHL MH 600.1 / 700.1 </vt:lpstr>
      <vt:lpstr>STIHL MH 600.1 / 700.1 </vt:lpstr>
      <vt:lpstr>Silné stránky | Cieľové skupiny | Použitie</vt:lpstr>
      <vt:lpstr>Vlastnosti produktu </vt:lpstr>
      <vt:lpstr>Príslušenstvo </vt:lpstr>
      <vt:lpstr>Technické parametre </vt:lpstr>
    </vt:vector>
  </TitlesOfParts>
  <Company>Andreas Stihl AG &amp; Co. K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T/VVF-ch Hager, Christina</dc:creator>
  <cp:lastModifiedBy>kam sam</cp:lastModifiedBy>
  <cp:revision>596</cp:revision>
  <dcterms:created xsi:type="dcterms:W3CDTF">2020-01-22T10:00:52Z</dcterms:created>
  <dcterms:modified xsi:type="dcterms:W3CDTF">2023-11-28T09:18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BCBB1BD1-1B63-4915-B091-2E832B23B032</vt:lpwstr>
  </property>
  <property fmtid="{D5CDD505-2E9C-101B-9397-08002B2CF9AE}" pid="3" name="ArticulatePath">
    <vt:lpwstr>Präsentation1</vt:lpwstr>
  </property>
</Properties>
</file>